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6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</p:sldMasterIdLst>
  <p:notesMasterIdLst>
    <p:notesMasterId r:id="rId28"/>
  </p:notesMasterIdLst>
  <p:handoutMasterIdLst>
    <p:handoutMasterId r:id="rId29"/>
  </p:handoutMasterIdLst>
  <p:sldIdLst>
    <p:sldId id="495" r:id="rId11"/>
    <p:sldId id="487" r:id="rId12"/>
    <p:sldId id="498" r:id="rId13"/>
    <p:sldId id="488" r:id="rId14"/>
    <p:sldId id="497" r:id="rId15"/>
    <p:sldId id="500" r:id="rId16"/>
    <p:sldId id="493" r:id="rId17"/>
    <p:sldId id="489" r:id="rId18"/>
    <p:sldId id="491" r:id="rId19"/>
    <p:sldId id="501" r:id="rId20"/>
    <p:sldId id="502" r:id="rId21"/>
    <p:sldId id="503" r:id="rId22"/>
    <p:sldId id="504" r:id="rId23"/>
    <p:sldId id="479" r:id="rId24"/>
    <p:sldId id="505" r:id="rId25"/>
    <p:sldId id="492" r:id="rId26"/>
    <p:sldId id="496" r:id="rId27"/>
  </p:sldIdLst>
  <p:sldSz cx="9144000" cy="5143500" type="screen16x9"/>
  <p:notesSz cx="6858000" cy="9144000"/>
  <p:custDataLst>
    <p:tags r:id="rId30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ая часть" id="{0051B5CB-2B8F-4FF7-8BBA-D5EEA3048BF6}">
          <p14:sldIdLst>
            <p14:sldId id="495"/>
            <p14:sldId id="487"/>
            <p14:sldId id="498"/>
            <p14:sldId id="488"/>
            <p14:sldId id="497"/>
            <p14:sldId id="500"/>
            <p14:sldId id="493"/>
            <p14:sldId id="489"/>
            <p14:sldId id="491"/>
            <p14:sldId id="501"/>
            <p14:sldId id="502"/>
            <p14:sldId id="503"/>
            <p14:sldId id="504"/>
            <p14:sldId id="479"/>
            <p14:sldId id="505"/>
          </p14:sldIdLst>
        </p14:section>
        <p14:section name="Приложение" id="{96BC49D1-1256-4B3C-B9F7-F62FF7956230}">
          <p14:sldIdLst>
            <p14:sldId id="492"/>
            <p14:sldId id="49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EEF"/>
    <a:srgbClr val="003D4C"/>
    <a:srgbClr val="008C95"/>
    <a:srgbClr val="E04E39"/>
    <a:srgbClr val="FABE19"/>
    <a:srgbClr val="77E2C3"/>
    <a:srgbClr val="008CFA"/>
    <a:srgbClr val="FFC000"/>
    <a:srgbClr val="FA786E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69" autoAdjust="0"/>
    <p:restoredTop sz="96395" autoAdjust="0"/>
  </p:normalViewPr>
  <p:slideViewPr>
    <p:cSldViewPr snapToGrid="0">
      <p:cViewPr varScale="1">
        <p:scale>
          <a:sx n="144" d="100"/>
          <a:sy n="144" d="100"/>
        </p:scale>
        <p:origin x="210" y="13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A1E996-BAC1-4F64-B70A-C57C55581E6E}" type="datetime4">
              <a:rPr lang="ru-RU" smtClean="0"/>
              <a:t>18 апрел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98A26-3251-47B2-9790-23CD65BA0AA9}" type="datetime4">
              <a:rPr lang="ru-RU" smtClean="0"/>
              <a:t>18 апрел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3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1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0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3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9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0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9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3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3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1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2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1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2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8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1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2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5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1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2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2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2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6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7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6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2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2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8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5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8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4758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50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6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6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5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7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7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7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7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4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4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4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5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5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5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5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5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6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6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7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7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7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7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5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1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1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2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2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2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29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1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2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8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8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8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0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7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6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3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1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3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3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4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4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4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31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4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4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4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5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5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5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1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843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1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092" y="214878"/>
            <a:ext cx="7772400" cy="569620"/>
          </a:xfrm>
          <a:prstGeom prst="rect">
            <a:avLst/>
          </a:prstGeom>
        </p:spPr>
        <p:txBody>
          <a:bodyPr/>
          <a:lstStyle>
            <a:lvl1pPr algn="l">
              <a:defRPr sz="1425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9750-BD4F-4707-BC6D-033BD38831B6}" type="slidenum">
              <a:rPr lang="ru-RU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9652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пециальные пластификаторы. Расширение продуктового ассортимента для строительного сегмента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55979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2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7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9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31.xml"/><Relationship Id="rId9" Type="http://schemas.openxmlformats.org/officeDocument/2006/relationships/vmlDrawing" Target="../drawings/vmlDrawing2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oleObject" Target="../embeddings/oleObject37.bin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vmlDrawing" Target="../drawings/vmlDrawing37.v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tags" Target="../tags/tag71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vmlDrawing" Target="../drawings/vmlDrawing67.v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oleObject" Target="../embeddings/oleObject67.bin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theme" Target="../theme/theme4.xml"/><Relationship Id="rId30" Type="http://schemas.openxmlformats.org/officeDocument/2006/relationships/tags" Target="../tags/tag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oleObject" Target="../embeddings/oleObject93.bin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ags" Target="../tags/tag99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tags" Target="../tags/tag98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3.vml"/><Relationship Id="rId4" Type="http://schemas.openxmlformats.org/officeDocument/2006/relationships/slideLayout" Target="../slideLayouts/slideLayout93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tags" Target="../tags/tag102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tags" Target="../tags/tag101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41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vmlDrawing" Target="../drawings/vmlDrawing95.v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oleObject" Target="../embeddings/oleObject95.bin"/><Relationship Id="rId8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95" name="Слайд think-cell" r:id="rId32" imgW="270" imgH="270" progId="TCLayout.ActiveDocument.1">
                  <p:embed/>
                </p:oleObj>
              </mc:Choice>
              <mc:Fallback>
                <p:oleObj name="Слайд think-cell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8" r:id="rId26"/>
    <p:sldLayoutId id="2147484779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2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29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000" name="Слайд think-cell" r:id="rId31" imgW="270" imgH="270" progId="TCLayout.ActiveDocument.1">
                  <p:embed/>
                </p:oleObj>
              </mc:Choice>
              <mc:Fallback>
                <p:oleObj name="Слайд think-cell" r:id="rId3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80" r:id="rId24"/>
    <p:sldLayoutId id="2147484781" r:id="rId25"/>
    <p:sldLayoutId id="2147484782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941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290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bic.com/en/products/polymers/polyethylene-pe" TargetMode="External"/><Relationship Id="rId2" Type="http://schemas.openxmlformats.org/officeDocument/2006/relationships/hyperlink" Target="https://www.sibur.ru/ru/" TargetMode="External"/><Relationship Id="rId1" Type="http://schemas.openxmlformats.org/officeDocument/2006/relationships/slideLayout" Target="../slideLayouts/slideLayout65.xml"/><Relationship Id="rId6" Type="http://schemas.openxmlformats.org/officeDocument/2006/relationships/hyperlink" Target="https://www.braskem.com.br/product-search" TargetMode="External"/><Relationship Id="rId5" Type="http://schemas.openxmlformats.org/officeDocument/2006/relationships/hyperlink" Target="https://gailonline.com/contacts.html" TargetMode="External"/><Relationship Id="rId4" Type="http://schemas.openxmlformats.org/officeDocument/2006/relationships/hyperlink" Target="https://www.gcmgrp.com/Web/contact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polyfill.co.in/Product.aspx?Pid=1" TargetMode="External"/><Relationship Id="rId3" Type="http://schemas.openxmlformats.org/officeDocument/2006/relationships/hyperlink" Target="https://www.lgchem.com/product/PD00000004" TargetMode="External"/><Relationship Id="rId7" Type="http://schemas.openxmlformats.org/officeDocument/2006/relationships/hyperlink" Target="https://pdf.indiamart.com/impdf/20809722933/MY-46247214/pib-compound.pdf" TargetMode="External"/><Relationship Id="rId2" Type="http://schemas.openxmlformats.org/officeDocument/2006/relationships/hyperlink" Target="https://www.sabic.com/en/about/locations" TargetMode="External"/><Relationship Id="rId1" Type="http://schemas.openxmlformats.org/officeDocument/2006/relationships/slideLayout" Target="../slideLayouts/slideLayout65.xml"/><Relationship Id="rId6" Type="http://schemas.openxmlformats.org/officeDocument/2006/relationships/hyperlink" Target="http://www.greenpoly.com/contact_us.htm" TargetMode="External"/><Relationship Id="rId5" Type="http://schemas.openxmlformats.org/officeDocument/2006/relationships/hyperlink" Target="https://jp.mitsuichemicals.com/en/special/tafmer/contacts/index.htm" TargetMode="External"/><Relationship Id="rId10" Type="http://schemas.openxmlformats.org/officeDocument/2006/relationships/hyperlink" Target="https://www.globalsources.com/si/AS/Shenzhen-Beihua/6008831761260/pdtl/Pib-Masterbatch/1113732618.htm" TargetMode="External"/><Relationship Id="rId4" Type="http://schemas.openxmlformats.org/officeDocument/2006/relationships/hyperlink" Target="https://www.skchemicals.com/en/support/location_map.aspx" TargetMode="External"/><Relationship Id="rId9" Type="http://schemas.openxmlformats.org/officeDocument/2006/relationships/hyperlink" Target="https://www.polytechs.fr/contacter-polytechs-ien7f5e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bic.com/en/about/locations" TargetMode="External"/><Relationship Id="rId2" Type="http://schemas.openxmlformats.org/officeDocument/2006/relationships/hyperlink" Target="http://www.sinopecgroup.com/" TargetMode="External"/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bic.com/en/about/locations" TargetMode="External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bars2.com/" TargetMode="External"/><Relationship Id="rId3" Type="http://schemas.openxmlformats.org/officeDocument/2006/relationships/slideLayout" Target="../slideLayouts/slideLayout65.xml"/><Relationship Id="rId7" Type="http://schemas.openxmlformats.org/officeDocument/2006/relationships/hyperlink" Target="http://polistom.com/kontakty.html" TargetMode="External"/><Relationship Id="rId12" Type="http://schemas.openxmlformats.org/officeDocument/2006/relationships/hyperlink" Target="https://protsvet.com/" TargetMode="External"/><Relationship Id="rId2" Type="http://schemas.openxmlformats.org/officeDocument/2006/relationships/tags" Target="../tags/tag155.xml"/><Relationship Id="rId1" Type="http://schemas.openxmlformats.org/officeDocument/2006/relationships/vmlDrawing" Target="../drawings/vmlDrawing148.vml"/><Relationship Id="rId6" Type="http://schemas.openxmlformats.org/officeDocument/2006/relationships/hyperlink" Target="http://www.jlsj.cn/en/contact.asp" TargetMode="External"/><Relationship Id="rId11" Type="http://schemas.openxmlformats.org/officeDocument/2006/relationships/hyperlink" Target="https://nicator.ru/contacts" TargetMode="External"/><Relationship Id="rId5" Type="http://schemas.openxmlformats.org/officeDocument/2006/relationships/image" Target="../media/image13.emf"/><Relationship Id="rId10" Type="http://schemas.openxmlformats.org/officeDocument/2006/relationships/hyperlink" Target="http://highgrade.in/contact-us/" TargetMode="External"/><Relationship Id="rId4" Type="http://schemas.openxmlformats.org/officeDocument/2006/relationships/oleObject" Target="../embeddings/oleObject148.bin"/><Relationship Id="rId9" Type="http://schemas.openxmlformats.org/officeDocument/2006/relationships/hyperlink" Target="https://alenmel.ru/kontaktyi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0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15.jpeg"/><Relationship Id="rId2" Type="http://schemas.openxmlformats.org/officeDocument/2006/relationships/tags" Target="../tags/tag150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3.bin"/><Relationship Id="rId10" Type="http://schemas.openxmlformats.org/officeDocument/2006/relationships/image" Target="../media/image18.jpeg"/><Relationship Id="rId4" Type="http://schemas.openxmlformats.org/officeDocument/2006/relationships/image" Target="../media/image14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6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6158" y="189186"/>
            <a:ext cx="8462137" cy="2068893"/>
          </a:xfrm>
        </p:spPr>
        <p:txBody>
          <a:bodyPr>
            <a:noAutofit/>
          </a:bodyPr>
          <a:lstStyle/>
          <a:p>
            <a:r>
              <a:rPr lang="ru-RU" sz="4900" b="1" cap="all" dirty="0"/>
              <a:t>ПОЛИМЕРНОЕ СЫРЬЕ И ДОБАВКИ В НОВОЙ РЕАЛЬНОСТИ: </a:t>
            </a:r>
            <a:r>
              <a:rPr lang="ru-RU" sz="4900" b="1" kern="1200" dirty="0">
                <a:solidFill>
                  <a:schemeClr val="accent6"/>
                </a:solidFill>
                <a:latin typeface="Arial" charset="0"/>
                <a:cs typeface="+mn-cs"/>
              </a:rPr>
              <a:t>ГИБКАЯ УПАКОВКА 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err="1"/>
              <a:t>Вебинар</a:t>
            </a:r>
            <a:endParaRPr lang="ru-RU" dirty="0"/>
          </a:p>
          <a:p>
            <a:r>
              <a:rPr lang="ru-RU" dirty="0" smtClean="0"/>
              <a:t>18 </a:t>
            </a:r>
            <a:r>
              <a:rPr lang="ru-RU" dirty="0"/>
              <a:t>апреля, </a:t>
            </a:r>
            <a:r>
              <a:rPr lang="ru-RU" dirty="0" smtClean="0"/>
              <a:t>11:00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256158" y="2882184"/>
            <a:ext cx="6732905" cy="1635436"/>
          </a:xfrm>
        </p:spPr>
        <p:txBody>
          <a:bodyPr/>
          <a:lstStyle/>
          <a:p>
            <a:r>
              <a:rPr lang="ru-RU" dirty="0" smtClean="0"/>
              <a:t>Ершов Андрей Евгеньевич</a:t>
            </a:r>
            <a:endParaRPr lang="ru-RU" dirty="0"/>
          </a:p>
          <a:p>
            <a:r>
              <a:rPr lang="ru-RU" dirty="0" smtClean="0"/>
              <a:t>Главный Эксперт</a:t>
            </a:r>
            <a:r>
              <a:rPr lang="ru-RU" dirty="0"/>
              <a:t>, Технический сервис нефтехимического бизнеса, ООО «Сибур»</a:t>
            </a:r>
          </a:p>
          <a:p>
            <a:endParaRPr lang="ru-RU" dirty="0"/>
          </a:p>
          <a:p>
            <a:r>
              <a:rPr lang="ru-RU" dirty="0" smtClean="0"/>
              <a:t>Мамлеева Камиля Дамировна</a:t>
            </a:r>
            <a:endParaRPr lang="ru-RU" dirty="0"/>
          </a:p>
          <a:p>
            <a:r>
              <a:rPr lang="ru-RU" dirty="0" smtClean="0"/>
              <a:t>Эксперт, Технический сервис нефтехимического бизнеса, ООО «Сибур»</a:t>
            </a:r>
          </a:p>
          <a:p>
            <a:endParaRPr lang="ru-RU" dirty="0"/>
          </a:p>
          <a:p>
            <a:r>
              <a:rPr lang="ru-RU" dirty="0" smtClean="0"/>
              <a:t>Ромеро Бланко Хосе</a:t>
            </a:r>
          </a:p>
          <a:p>
            <a:r>
              <a:rPr lang="ru-RU" dirty="0"/>
              <a:t>Менеджер, Исследовательский центр </a:t>
            </a:r>
            <a:r>
              <a:rPr lang="ru-RU" dirty="0" smtClean="0"/>
              <a:t>ООО </a:t>
            </a:r>
            <a:r>
              <a:rPr lang="ru-RU" dirty="0"/>
              <a:t>«Сибур ПолиЛаб»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endParaRPr lang="ru-RU" sz="1000" dirty="0"/>
          </a:p>
          <a:p>
            <a:endParaRPr lang="ru-RU" dirty="0"/>
          </a:p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046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вал 10"/>
          <p:cNvSpPr/>
          <p:nvPr/>
        </p:nvSpPr>
        <p:spPr bwMode="auto">
          <a:xfrm>
            <a:off x="450700" y="1835909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 ЗАПРОСОВ – КЕЙС 1</a:t>
            </a:r>
            <a:endParaRPr lang="ru-RU" dirty="0"/>
          </a:p>
        </p:txBody>
      </p:sp>
      <p:sp>
        <p:nvSpPr>
          <p:cNvPr id="10" name="Овал 9"/>
          <p:cNvSpPr/>
          <p:nvPr/>
        </p:nvSpPr>
        <p:spPr bwMode="auto">
          <a:xfrm>
            <a:off x="455955" y="1532164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461213" y="1228415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466465" y="88682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88592" y="875312"/>
            <a:ext cx="8291639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ДУКТ: </a:t>
            </a:r>
            <a:r>
              <a:rPr lang="en-US" sz="1400" dirty="0" err="1" smtClean="0">
                <a:solidFill>
                  <a:schemeClr val="tx2"/>
                </a:solidFill>
              </a:rPr>
              <a:t>mLLDPE</a:t>
            </a:r>
            <a:r>
              <a:rPr lang="ru-RU" sz="1400" b="1" dirty="0" smtClean="0">
                <a:solidFill>
                  <a:schemeClr val="tx2"/>
                </a:solidFill>
              </a:rPr>
              <a:t> 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БЛЕМА</a:t>
            </a:r>
            <a:r>
              <a:rPr lang="ru-RU" sz="1400" dirty="0" smtClean="0">
                <a:solidFill>
                  <a:schemeClr val="tx2"/>
                </a:solidFill>
              </a:rPr>
              <a:t>: дефицит </a:t>
            </a:r>
            <a:r>
              <a:rPr lang="ru-RU" sz="1400" dirty="0">
                <a:solidFill>
                  <a:schemeClr val="tx2"/>
                </a:solidFill>
              </a:rPr>
              <a:t>отечественных марок на </a:t>
            </a:r>
            <a:r>
              <a:rPr lang="ru-RU" sz="1400" dirty="0" smtClean="0">
                <a:solidFill>
                  <a:schemeClr val="tx2"/>
                </a:solidFill>
              </a:rPr>
              <a:t>рынке;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РИСКИ: </a:t>
            </a:r>
            <a:r>
              <a:rPr lang="ru-RU" sz="1400" dirty="0" smtClean="0">
                <a:solidFill>
                  <a:schemeClr val="tx2"/>
                </a:solidFill>
              </a:rPr>
              <a:t>ухудшение свойств пленок – сварка, прочность на прокол, раздир, удар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ВОЗМОЖНОСТИ: </a:t>
            </a:r>
          </a:p>
          <a:p>
            <a:pPr marL="285750" indent="-285750">
              <a:lnSpc>
                <a:spcPct val="15000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Полная или частичная замена на марки </a:t>
            </a:r>
            <a:r>
              <a:rPr lang="en-US" sz="1400" dirty="0" smtClean="0">
                <a:solidFill>
                  <a:schemeClr val="tx2"/>
                </a:solidFill>
              </a:rPr>
              <a:t>LLDPE C4/C6 </a:t>
            </a:r>
            <a:r>
              <a:rPr lang="ru-RU" sz="1400" dirty="0" smtClean="0">
                <a:solidFill>
                  <a:schemeClr val="tx2"/>
                </a:solidFill>
              </a:rPr>
              <a:t>с увеличением толщины пленок;</a:t>
            </a:r>
          </a:p>
          <a:p>
            <a:pPr marL="285750" indent="-285750">
              <a:lnSpc>
                <a:spcPct val="150000"/>
              </a:lnSpc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Поиск альтернатив на доступных рынках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552426"/>
              </p:ext>
            </p:extLst>
          </p:nvPr>
        </p:nvGraphicFramePr>
        <p:xfrm>
          <a:off x="522429" y="3089654"/>
          <a:ext cx="8357802" cy="1401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3318">
                  <a:extLst>
                    <a:ext uri="{9D8B030D-6E8A-4147-A177-3AD203B41FA5}">
                      <a16:colId xmlns:a16="http://schemas.microsoft.com/office/drawing/2014/main" val="1374241061"/>
                    </a:ext>
                  </a:extLst>
                </a:gridCol>
                <a:gridCol w="5484484">
                  <a:extLst>
                    <a:ext uri="{9D8B030D-6E8A-4147-A177-3AD203B41FA5}">
                      <a16:colId xmlns:a16="http://schemas.microsoft.com/office/drawing/2014/main" val="282881166"/>
                    </a:ext>
                  </a:extLst>
                </a:gridCol>
              </a:tblGrid>
              <a:tr h="301541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Возможные поставщик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Ссылк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599246"/>
                  </a:ext>
                </a:extLst>
              </a:tr>
              <a:tr h="1065722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F2010M 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СИБУР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mLLDPE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7118NM (Sabic 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Саудовская Арав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InnoPlus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LL7810A (Thailand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MF18S010U, MF18A010U GAIL 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Инд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FLEXUS 9211 </a:t>
                      </a: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Braskem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Бразил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hlinkClick r:id="rId2"/>
                        </a:rPr>
                        <a:t>https://www.sibur.ru/ru/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sabic.com/en/products/polymers/polyethylene-pe</a:t>
                      </a:r>
                      <a:endParaRPr lang="en-US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4"/>
                        </a:rPr>
                        <a:t>https://www.gcmgrp.com/Web/contact</a:t>
                      </a:r>
                      <a:endParaRPr lang="en-US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5"/>
                        </a:rPr>
                        <a:t>https://gailonline.com/contacts.html</a:t>
                      </a:r>
                      <a:endParaRPr lang="en-US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6"/>
                        </a:rPr>
                        <a:t>https://www.braskem.com.br/product-search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273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218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вал 7"/>
          <p:cNvSpPr/>
          <p:nvPr/>
        </p:nvSpPr>
        <p:spPr bwMode="auto">
          <a:xfrm>
            <a:off x="433516" y="104470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433516" y="135475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33516" y="165850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433516" y="696808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 ЗАПРОСОВ – КЕЙС 2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88592" y="684196"/>
            <a:ext cx="8291639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ДУКТ: </a:t>
            </a:r>
            <a:r>
              <a:rPr lang="ru-RU" sz="1400" dirty="0" smtClean="0">
                <a:solidFill>
                  <a:schemeClr val="tx2"/>
                </a:solidFill>
              </a:rPr>
              <a:t>Адгезионная добавка для стретч пленок (</a:t>
            </a:r>
            <a:r>
              <a:rPr lang="en-US" sz="1400" dirty="0" err="1" smtClean="0">
                <a:solidFill>
                  <a:schemeClr val="tx2"/>
                </a:solidFill>
              </a:rPr>
              <a:t>Vistamaxx</a:t>
            </a:r>
            <a:r>
              <a:rPr lang="ru-RU" sz="1400" dirty="0" smtClean="0">
                <a:solidFill>
                  <a:schemeClr val="tx2"/>
                </a:solidFill>
              </a:rPr>
              <a:t>)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БЛЕМА: </a:t>
            </a:r>
            <a:r>
              <a:rPr lang="ru-RU" sz="1400" dirty="0" smtClean="0">
                <a:solidFill>
                  <a:schemeClr val="tx2"/>
                </a:solidFill>
              </a:rPr>
              <a:t>отсутствие производства аналогов в РФ;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РИСКИ: </a:t>
            </a:r>
            <a:r>
              <a:rPr lang="ru-RU" sz="1400" dirty="0" smtClean="0">
                <a:solidFill>
                  <a:schemeClr val="tx2"/>
                </a:solidFill>
              </a:rPr>
              <a:t>потеря адгезионных свойств </a:t>
            </a:r>
            <a:r>
              <a:rPr lang="ru-RU" sz="1400" dirty="0" err="1" smtClean="0">
                <a:solidFill>
                  <a:schemeClr val="tx2"/>
                </a:solidFill>
              </a:rPr>
              <a:t>стретч</a:t>
            </a:r>
            <a:r>
              <a:rPr lang="ru-RU" sz="1400" dirty="0" smtClean="0">
                <a:solidFill>
                  <a:schemeClr val="tx2"/>
                </a:solidFill>
              </a:rPr>
              <a:t> пленок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ВОЗМОЖНОСТИ: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Замена на ПИБ (необходимо дооснащение линии дозаторами)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Использование ПИБ с виде </a:t>
            </a:r>
            <a:r>
              <a:rPr lang="ru-RU" sz="1400" dirty="0" err="1" smtClean="0">
                <a:solidFill>
                  <a:schemeClr val="tx2"/>
                </a:solidFill>
              </a:rPr>
              <a:t>мастербатча</a:t>
            </a:r>
            <a:r>
              <a:rPr lang="ru-RU" sz="1400" dirty="0" smtClean="0">
                <a:solidFill>
                  <a:schemeClr val="tx2"/>
                </a:solidFill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Использование 100% </a:t>
            </a:r>
            <a:r>
              <a:rPr lang="en-US" sz="1400" dirty="0" smtClean="0">
                <a:solidFill>
                  <a:schemeClr val="tx2"/>
                </a:solidFill>
              </a:rPr>
              <a:t>LL30200FE </a:t>
            </a:r>
            <a:r>
              <a:rPr lang="ru-RU" sz="1400" dirty="0" smtClean="0">
                <a:solidFill>
                  <a:schemeClr val="tx2"/>
                </a:solidFill>
              </a:rPr>
              <a:t>в адгезионном слое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/>
                </a:solidFill>
              </a:rPr>
              <a:t>Поиск альтернатив на доступных рынках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7552379"/>
              </p:ext>
            </p:extLst>
          </p:nvPr>
        </p:nvGraphicFramePr>
        <p:xfrm>
          <a:off x="603736" y="2946354"/>
          <a:ext cx="8423531" cy="179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915">
                  <a:extLst>
                    <a:ext uri="{9D8B030D-6E8A-4147-A177-3AD203B41FA5}">
                      <a16:colId xmlns:a16="http://schemas.microsoft.com/office/drawing/2014/main" val="1374241061"/>
                    </a:ext>
                  </a:extLst>
                </a:gridCol>
                <a:gridCol w="5527616">
                  <a:extLst>
                    <a:ext uri="{9D8B030D-6E8A-4147-A177-3AD203B41FA5}">
                      <a16:colId xmlns:a16="http://schemas.microsoft.com/office/drawing/2014/main" val="282881166"/>
                    </a:ext>
                  </a:extLst>
                </a:gridCol>
              </a:tblGrid>
              <a:tr h="25846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можные поставщи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сыл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599246"/>
                  </a:ext>
                </a:extLst>
              </a:tr>
              <a:tr h="48860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800" b="1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Аналоги</a:t>
                      </a:r>
                      <a:r>
                        <a:rPr lang="ru-RU" sz="800" b="1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b="1" baseline="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Vistamaxx</a:t>
                      </a:r>
                      <a:endParaRPr lang="ru-RU" sz="800" b="1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bic COHERE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Саудовская Арав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LG CHEM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ре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K Chemicals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ре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Tafmer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Япон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2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sabic.com/en/about/locations</a:t>
                      </a:r>
                      <a:endParaRPr lang="en-US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lgchem.com/product/PD00000004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4"/>
                        </a:rPr>
                        <a:t>https://www.skchemicals.com/en/support/location_map.aspx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5"/>
                        </a:rPr>
                        <a:t>https://jp.mitsuichemicals.com/en/special/tafmer/contacts/index.htm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27306"/>
                  </a:ext>
                </a:extLst>
              </a:tr>
              <a:tr h="267575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800" b="1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Мастербатч</a:t>
                      </a:r>
                      <a:r>
                        <a:rPr lang="ru-RU" sz="800" b="1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ПИБ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REENPOLY (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итай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ECHNOFILL ADDITIVES (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дия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kern="12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yfill</a:t>
                      </a: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дия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LYTECHS (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Франция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henzhen </a:t>
                      </a:r>
                      <a:r>
                        <a:rPr lang="en-US" sz="800" kern="12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ihua</a:t>
                      </a:r>
                      <a:r>
                        <a:rPr lang="en-US" sz="800" kern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Plastic Co. Ltd</a:t>
                      </a:r>
                      <a:endParaRPr lang="ru-RU" sz="800" kern="12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6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6"/>
                        </a:rPr>
                        <a:t>http://www.greenpoly.com/contact_us.htm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7"/>
                        </a:rPr>
                        <a:t>https://pdf.indiamart.com/impdf/20809722933/MY-46247214/pib-compound.pdf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8"/>
                        </a:rPr>
                        <a:t>http://polyfill.co.in/Product.aspx?Pid=1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9"/>
                        </a:rPr>
                        <a:t>https://www.polytechs.fr/contacter-polytechs-ien7f5e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10"/>
                        </a:rPr>
                        <a:t>https://www.globalsources.com/si/AS/Shenzhen-Beihua/6008831761260/pdtl/Pib-Masterbatch/1113732618.htm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580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3196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вал 6"/>
          <p:cNvSpPr/>
          <p:nvPr/>
        </p:nvSpPr>
        <p:spPr bwMode="auto">
          <a:xfrm>
            <a:off x="436731" y="70145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437696" y="1037770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436731" y="135682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36731" y="1675876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 ЗАПРОСОВ – КЕЙС 3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88592" y="684196"/>
            <a:ext cx="8291639" cy="22621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ДУКТ: </a:t>
            </a:r>
            <a:r>
              <a:rPr lang="ru-RU" sz="1400" dirty="0" smtClean="0">
                <a:solidFill>
                  <a:schemeClr val="tx2"/>
                </a:solidFill>
              </a:rPr>
              <a:t>Сополимеры для КАСТ и БОПП пленок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БЛЕМА: </a:t>
            </a:r>
            <a:r>
              <a:rPr lang="ru-RU" sz="1400" dirty="0" smtClean="0">
                <a:solidFill>
                  <a:schemeClr val="tx2"/>
                </a:solidFill>
              </a:rPr>
              <a:t>недостаток отечественных марок сополимеров</a:t>
            </a:r>
            <a:r>
              <a:rPr lang="ru-RU" sz="1400" smtClean="0">
                <a:solidFill>
                  <a:schemeClr val="tx2"/>
                </a:solidFill>
              </a:rPr>
              <a:t>, отсутствие </a:t>
            </a:r>
            <a:r>
              <a:rPr lang="ru-RU" sz="1400" dirty="0" err="1" smtClean="0">
                <a:solidFill>
                  <a:schemeClr val="tx2"/>
                </a:solidFill>
              </a:rPr>
              <a:t>терполимеров</a:t>
            </a:r>
            <a:r>
              <a:rPr lang="ru-RU" sz="1400" dirty="0" smtClean="0">
                <a:solidFill>
                  <a:schemeClr val="tx2"/>
                </a:solidFill>
              </a:rPr>
              <a:t>;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РИСКИ: </a:t>
            </a:r>
            <a:r>
              <a:rPr lang="ru-RU" sz="1400" dirty="0" smtClean="0">
                <a:solidFill>
                  <a:schemeClr val="tx2"/>
                </a:solidFill>
              </a:rPr>
              <a:t>ухудшение сварных свойств пленок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ВОЗМОЖНОСТИ: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Использование доступных в РФ сополимеров (НКНХ) и композиций на их основе в рецептуре </a:t>
            </a:r>
            <a:r>
              <a:rPr lang="ru-RU" sz="1400" dirty="0" err="1" smtClean="0">
                <a:solidFill>
                  <a:schemeClr val="tx2"/>
                </a:solidFill>
              </a:rPr>
              <a:t>термосвариваемого</a:t>
            </a:r>
            <a:r>
              <a:rPr lang="ru-RU" sz="1400" dirty="0" smtClean="0">
                <a:solidFill>
                  <a:schemeClr val="tx2"/>
                </a:solidFill>
              </a:rPr>
              <a:t> слоя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Поиск альтернатив на доступных рынках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4618035"/>
              </p:ext>
            </p:extLst>
          </p:nvPr>
        </p:nvGraphicFramePr>
        <p:xfrm>
          <a:off x="522429" y="3041007"/>
          <a:ext cx="8423531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915">
                  <a:extLst>
                    <a:ext uri="{9D8B030D-6E8A-4147-A177-3AD203B41FA5}">
                      <a16:colId xmlns:a16="http://schemas.microsoft.com/office/drawing/2014/main" val="1374241061"/>
                    </a:ext>
                  </a:extLst>
                </a:gridCol>
                <a:gridCol w="5527616">
                  <a:extLst>
                    <a:ext uri="{9D8B030D-6E8A-4147-A177-3AD203B41FA5}">
                      <a16:colId xmlns:a16="http://schemas.microsoft.com/office/drawing/2014/main" val="282881166"/>
                    </a:ext>
                  </a:extLst>
                </a:gridCol>
              </a:tblGrid>
              <a:tr h="25846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можные поставщи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сыл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599246"/>
                  </a:ext>
                </a:extLst>
              </a:tr>
              <a:tr h="488609">
                <a:tc>
                  <a:txBody>
                    <a:bodyPr/>
                    <a:lstStyle/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inopec</a:t>
                      </a:r>
                      <a:r>
                        <a:rPr lang="en-US" sz="8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итай)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Hanwha Total CF309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ре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Braskem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ymbios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Бразил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JAM Petrochemical Company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Иран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LG </a:t>
                      </a: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chem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ре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Lotte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Chemical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ре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The Polyolefin Company (Singapore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Essentia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олумб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hlinkClick r:id="rId2"/>
                        </a:rPr>
                        <a:t>http://www.sinopecgroup.com/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3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hanwha-total.com/en/support/customer_inquirie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braskem.com.br/product-search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jpcomplex.ir/en/products/salesdepartment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lgchem.com/product/PD00000260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lottechem.com/en/utility/faq/qna.do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tpc.com.sg/SalesEnquiry.aspx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3"/>
                        </a:rPr>
                        <a:t>https://www.essentialpolymers.com/contact-us/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3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3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273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2930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Овал 6"/>
          <p:cNvSpPr/>
          <p:nvPr/>
        </p:nvSpPr>
        <p:spPr bwMode="auto">
          <a:xfrm>
            <a:off x="437717" y="904599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437717" y="1237467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Овал 9"/>
          <p:cNvSpPr/>
          <p:nvPr/>
        </p:nvSpPr>
        <p:spPr bwMode="auto">
          <a:xfrm>
            <a:off x="437717" y="1570831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37717" y="1899343"/>
            <a:ext cx="244254" cy="244254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ОП ЗАПРОСОВ – КЕЙС 4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03736" y="898204"/>
            <a:ext cx="8291639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ДУКТ: </a:t>
            </a:r>
            <a:r>
              <a:rPr lang="ru-RU" sz="1400" dirty="0" smtClean="0">
                <a:solidFill>
                  <a:schemeClr val="tx2"/>
                </a:solidFill>
              </a:rPr>
              <a:t>Барьерные полимеры;</a:t>
            </a: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ПРОБЛЕМА: </a:t>
            </a:r>
            <a:r>
              <a:rPr lang="ru-RU" sz="1400" dirty="0" smtClean="0">
                <a:solidFill>
                  <a:schemeClr val="tx2"/>
                </a:solidFill>
              </a:rPr>
              <a:t>отсутствие производства марок </a:t>
            </a:r>
            <a:r>
              <a:rPr lang="en-US" sz="1400" dirty="0" smtClean="0">
                <a:solidFill>
                  <a:schemeClr val="tx2"/>
                </a:solidFill>
              </a:rPr>
              <a:t>EVOH </a:t>
            </a:r>
            <a:r>
              <a:rPr lang="ru-RU" sz="1400" dirty="0" smtClean="0">
                <a:solidFill>
                  <a:schemeClr val="tx2"/>
                </a:solidFill>
              </a:rPr>
              <a:t>в РФ. Дефицит марок на мировом рынке;</a:t>
            </a:r>
            <a:endParaRPr lang="ru-RU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РИСКИ: </a:t>
            </a:r>
            <a:r>
              <a:rPr lang="ru-RU" sz="1400" dirty="0" smtClean="0">
                <a:solidFill>
                  <a:schemeClr val="tx2"/>
                </a:solidFill>
              </a:rPr>
              <a:t>ухудшение барьерных свойств пленок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  <a:endParaRPr lang="ru-RU" sz="1400" dirty="0" smtClean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1400" b="1" dirty="0" smtClean="0">
                <a:solidFill>
                  <a:schemeClr val="tx2"/>
                </a:solidFill>
              </a:rPr>
              <a:t>ВОЗМОЖНОСТИ: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2"/>
                </a:solidFill>
              </a:rPr>
              <a:t>Поиск альтернатив на доступных рынках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5476333"/>
              </p:ext>
            </p:extLst>
          </p:nvPr>
        </p:nvGraphicFramePr>
        <p:xfrm>
          <a:off x="522429" y="2732880"/>
          <a:ext cx="8423531" cy="179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5915">
                  <a:extLst>
                    <a:ext uri="{9D8B030D-6E8A-4147-A177-3AD203B41FA5}">
                      <a16:colId xmlns:a16="http://schemas.microsoft.com/office/drawing/2014/main" val="1374241061"/>
                    </a:ext>
                  </a:extLst>
                </a:gridCol>
                <a:gridCol w="5527616">
                  <a:extLst>
                    <a:ext uri="{9D8B030D-6E8A-4147-A177-3AD203B41FA5}">
                      <a16:colId xmlns:a16="http://schemas.microsoft.com/office/drawing/2014/main" val="282881166"/>
                    </a:ext>
                  </a:extLst>
                </a:gridCol>
              </a:tblGrid>
              <a:tr h="258467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можные поставщи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сылки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599246"/>
                  </a:ext>
                </a:extLst>
              </a:tr>
              <a:tr h="48860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1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EVOH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IPPON GOHSEI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Япон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KURARAY (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Бельгия)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Chun Chung Petrochemicals (CCP) </a:t>
                      </a:r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Тайвань. </a:t>
                      </a:r>
                    </a:p>
                    <a:p>
                      <a:pPr marL="228600" indent="-228600">
                        <a:buAutoNum type="arabicPeriod"/>
                      </a:pPr>
                      <a:r>
                        <a:rPr lang="en-US" sz="80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Ramcharan</a:t>
                      </a: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Company Private Limited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m-chemical.co.jp/en/contact/products/index.php?code=C1206145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eval.kuraray.com/contact/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ccp.com.tw/ccpweb.nsf/homepage?openagent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indiamart.com/proddetail/ethylene-vinyl-alcohol-evoh-9406643291.html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27306"/>
                  </a:ext>
                </a:extLst>
              </a:tr>
              <a:tr h="488609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800" b="1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PA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bic (PA6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ПА6 – Куйбышев Азот (РФ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ПА6 – </a:t>
                      </a:r>
                      <a:r>
                        <a:rPr lang="ru-RU" sz="800" b="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ГродноАзот</a:t>
                      </a: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="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Белорусь</a:t>
                      </a: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ПА66 – </a:t>
                      </a:r>
                      <a:r>
                        <a:rPr lang="en-US" sz="800" b="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Huafon</a:t>
                      </a:r>
                      <a:r>
                        <a:rPr lang="en-US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Китай)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PA6.66 - </a:t>
                      </a:r>
                      <a:r>
                        <a:rPr lang="en-US" sz="800" b="0" dirty="0" err="1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RadiciGroup</a:t>
                      </a:r>
                      <a:r>
                        <a:rPr lang="en-US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 (</a:t>
                      </a:r>
                      <a:r>
                        <a:rPr lang="ru-RU" sz="8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Италия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2"/>
                      </a:endParaRP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sabic.com/en/about/locations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kuazot.ru/contacts/ 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azot.by/kontakty/sluzhby-prodazh/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://www.huafeng.com/pportal/Project/HuaFonEn/Web/Products.jsp?InnerCode=0003</a:t>
                      </a:r>
                    </a:p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hlinkClick r:id="rId2"/>
                        </a:rPr>
                        <a:t>https://www.radicigroup.com/en/radici-connect/sales-net/plastics</a:t>
                      </a:r>
                      <a:endParaRPr lang="ru-RU" sz="8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hlinkClick r:id="rId2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1699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270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41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047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217088"/>
            <a:ext cx="8426451" cy="481677"/>
          </a:xfrm>
        </p:spPr>
        <p:txBody>
          <a:bodyPr vert="horz"/>
          <a:lstStyle/>
          <a:p>
            <a:pPr algn="ctr"/>
            <a:r>
              <a:rPr lang="ru-RU" dirty="0" smtClean="0"/>
              <a:t>АЛЬТЕРНАТИВНЫЕ МАРКИ ПОЛИМЕРОВ 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127480"/>
              </p:ext>
            </p:extLst>
          </p:nvPr>
        </p:nvGraphicFramePr>
        <p:xfrm>
          <a:off x="358772" y="749917"/>
          <a:ext cx="8501449" cy="27645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12641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2032299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2301138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  <a:gridCol w="2655371">
                  <a:extLst>
                    <a:ext uri="{9D8B030D-6E8A-4147-A177-3AD203B41FA5}">
                      <a16:colId xmlns:a16="http://schemas.microsoft.com/office/drawing/2014/main" val="4259011416"/>
                    </a:ext>
                  </a:extLst>
                </a:gridCol>
              </a:tblGrid>
              <a:tr h="3704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олимер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мпортная марка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льтернативная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марк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нтакты поставщиков альтернативной марки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1622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PE</a:t>
                      </a:r>
                      <a:endParaRPr lang="pt-BR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xxonMobil HTA 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03580 SB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  <a:endParaRPr kumimoji="0" lang="en-US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1622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eos 20N7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A21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8184160"/>
                  </a:ext>
                </a:extLst>
              </a:tr>
              <a:tr h="1875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</a:t>
                      </a:r>
                      <a:r>
                        <a:rPr lang="pt-B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ealis FB23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02310 F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  <a:endParaRPr kumimoji="0" lang="ru-RU" sz="10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697204"/>
                  </a:ext>
                </a:extLst>
              </a:tr>
              <a:tr h="31397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L</a:t>
                      </a:r>
                      <a:r>
                        <a:rPr lang="pt-B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eos PF6212 A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 M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LLDPE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7118NM (Sabic </a:t>
                      </a:r>
                      <a:r>
                        <a:rPr kumimoji="0" lang="az-Cyrl-AZ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аудовская Аравия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z-Cyrl-AZ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noPlus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L7810A (Thailand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 MF18S010U, MF18A010U GAIL (</a:t>
                      </a:r>
                      <a:r>
                        <a:rPr kumimoji="0" lang="az-Cyrl-AZ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ндия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z-Cyrl-AZ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LEXUS 9211 </a:t>
                      </a:r>
                      <a:r>
                        <a:rPr kumimoji="0" lang="en-US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raskem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az-Cyrl-AZ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разилия)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https://www.sabic.com/en/about/locations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ange/polyethylene/</a:t>
                      </a:r>
                      <a:r>
                        <a:rPr kumimoji="0" lang="en-US" sz="10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dex.cshtml</a:t>
                      </a:r>
                      <a:endParaRPr kumimoji="0" lang="en-US" sz="10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 https://www.gcmgrp.com/Web/contact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 https://gailonline.com/contacts.html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 https://www.braskem.com.br/product-search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9852666"/>
                  </a:ext>
                </a:extLst>
              </a:tr>
              <a:tr h="162254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</a:t>
                      </a:r>
                      <a:r>
                        <a:rPr lang="ru-RU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ндом</a:t>
                      </a:r>
                      <a:endParaRPr lang="pt-BR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021" rtl="0" eaLnBrk="1" fontAlgn="ctr" latinLnBrk="0" hangingPunct="1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BIC PP 622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215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9454600"/>
                  </a:ext>
                </a:extLst>
              </a:tr>
              <a:tr h="16225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ealis RE216 CF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ИБУР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215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0083742"/>
                  </a:ext>
                </a:extLst>
              </a:tr>
              <a:tr h="18754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рполимеры</a:t>
                      </a:r>
                      <a:endParaRPr lang="pt-BR" sz="105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kumimoji="0" lang="ru-RU" sz="10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рполимеры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eos, Borealis (SIT~105</a:t>
                      </a:r>
                      <a:r>
                        <a:rPr kumimoji="0" lang="ru-RU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˚С)</a:t>
                      </a:r>
                      <a:endParaRPr kumimoji="0" lang="en-US" sz="10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рполимеры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nope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sinopecgroup.com</a:t>
                      </a: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774918"/>
                  </a:ext>
                </a:extLst>
              </a:tr>
            </a:tbl>
          </a:graphicData>
        </a:graphic>
      </p:graphicFrame>
      <p:sp>
        <p:nvSpPr>
          <p:cNvPr id="7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750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403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132818"/>
            <a:ext cx="8426451" cy="617099"/>
          </a:xfrm>
        </p:spPr>
        <p:txBody>
          <a:bodyPr vert="horz"/>
          <a:lstStyle/>
          <a:p>
            <a:r>
              <a:rPr lang="ru-RU" dirty="0" smtClean="0"/>
              <a:t>АЛЬТЕРНАТИВНЫЕ МАСТЕРБАТЧИ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604979"/>
              </p:ext>
            </p:extLst>
          </p:nvPr>
        </p:nvGraphicFramePr>
        <p:xfrm>
          <a:off x="280952" y="467307"/>
          <a:ext cx="8104290" cy="41827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8892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3279531">
                  <a:extLst>
                    <a:ext uri="{9D8B030D-6E8A-4147-A177-3AD203B41FA5}">
                      <a16:colId xmlns:a16="http://schemas.microsoft.com/office/drawing/2014/main" val="4259011416"/>
                    </a:ext>
                  </a:extLst>
                </a:gridCol>
                <a:gridCol w="2605867">
                  <a:extLst>
                    <a:ext uri="{9D8B030D-6E8A-4147-A177-3AD203B41FA5}">
                      <a16:colId xmlns:a16="http://schemas.microsoft.com/office/drawing/2014/main" val="2367214543"/>
                    </a:ext>
                  </a:extLst>
                </a:gridCol>
              </a:tblGrid>
              <a:tr h="3348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стербатча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ставщики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нтакт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12209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УФ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цессинговые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лип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hantou Best Science &amp; Technology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igh Grade Industries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 Индия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IANGSU FINE POLYMER MATERIALS,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итай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ОО «ПОЛИСТОМ»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рс-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www.bestpolybatch.com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http://highgrade.in/contact-us/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6"/>
                        </a:rPr>
                        <a:t>http://www.jlsj.cn/en/contact.asp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7"/>
                        </a:rPr>
                        <a:t>http://polistom.com/kontakty.html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8"/>
                        </a:rPr>
                        <a:t>https://bars2.com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84763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стербатчи с антиоксидантами</a:t>
                      </a:r>
                      <a:endParaRPr lang="en-US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 fontAlgn="ctr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статические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мастербатчи</a:t>
                      </a:r>
                    </a:p>
                    <a:p>
                      <a:pPr algn="l" fontAlgn="ctr"/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товые мастербатчи</a:t>
                      </a:r>
                      <a:endParaRPr lang="ru-RU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hantou Best Science &amp; Technology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IANGSU FINE POLYMER MATERIALS,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итай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ОО «ПОЛИСТОМ»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рс-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www.bestpolybatch.com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http://www.jlsj.cn/en/contact.asp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7"/>
                        </a:rPr>
                        <a:t>http://polistom.com/kontakty.html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8"/>
                        </a:rPr>
                        <a:t>https://bars2.com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0195509"/>
                  </a:ext>
                </a:extLst>
              </a:tr>
              <a:tr h="80953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фог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ли+антиблок</a:t>
                      </a: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блок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hantou Best Science &amp; Technology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IANGSU FINE POLYMER MATERIALS,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итай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ОО «ПОЛИСТОМ»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рс-2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леко-Полимеры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www.bestpolybatch.com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"/>
                        </a:rPr>
                        <a:t>http://www.jlsj.cn/en/contact.asp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7"/>
                        </a:rPr>
                        <a:t>http://polistom.com/kontakty.html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8"/>
                        </a:rPr>
                        <a:t>https://bars2.com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9"/>
                        </a:rPr>
                        <a:t>https://alenmel.ru/kontaktyi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8184160"/>
                  </a:ext>
                </a:extLst>
              </a:tr>
              <a:tr h="96954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Цветовые мастербатчи</a:t>
                      </a:r>
                      <a:endParaRPr lang="pt-BR" sz="11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igh Grade Industries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 Индия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ОО «ПОЛИСТОМ»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рс-2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леко-Полимеры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ИКАТОР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Цвет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10"/>
                        </a:rPr>
                        <a:t>http://highgrade.in/contact-us/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7"/>
                        </a:rPr>
                        <a:t>http://polistom.com/kontakty.html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8"/>
                        </a:rPr>
                        <a:t>https://bars2.com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9"/>
                        </a:rPr>
                        <a:t>https://alenmel.ru/kontaktyi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11"/>
                        </a:rPr>
                        <a:t>https://nicator.ru/contacts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  <a:hlinkClick r:id="rId12"/>
                        </a:rPr>
                        <a:t>https://protsvet.com/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5935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531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63844" cy="672627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Опросный лист для поиска альтернативного решени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328401"/>
              </p:ext>
            </p:extLst>
          </p:nvPr>
        </p:nvGraphicFramePr>
        <p:xfrm>
          <a:off x="4716939" y="232685"/>
          <a:ext cx="4069225" cy="4518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4389">
                  <a:extLst>
                    <a:ext uri="{9D8B030D-6E8A-4147-A177-3AD203B41FA5}">
                      <a16:colId xmlns:a16="http://schemas.microsoft.com/office/drawing/2014/main" val="281633527"/>
                    </a:ext>
                  </a:extLst>
                </a:gridCol>
                <a:gridCol w="2044836">
                  <a:extLst>
                    <a:ext uri="{9D8B030D-6E8A-4147-A177-3AD203B41FA5}">
                      <a16:colId xmlns:a16="http://schemas.microsoft.com/office/drawing/2014/main" val="2813323570"/>
                    </a:ext>
                  </a:extLst>
                </a:gridCol>
              </a:tblGrid>
              <a:tr h="20362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Вопрос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</a:rPr>
                        <a:t>Комментарий по заполнению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427585"/>
                  </a:ext>
                </a:extLst>
              </a:tr>
              <a:tr h="3371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Укажите название Вашей компании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название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84026"/>
                  </a:ext>
                </a:extLst>
              </a:tr>
              <a:tr h="30748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Кто Ваш фронт-менеджер (контактное лицо от </a:t>
                      </a:r>
                      <a:r>
                        <a:rPr lang="ru-RU" sz="800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ИБУРа</a:t>
                      </a: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)?</a:t>
                      </a: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клиент вносит </a:t>
                      </a: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ФИО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839969"/>
                  </a:ext>
                </a:extLst>
              </a:tr>
              <a:tr h="790418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 какого рода проблемами столкнулись?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 варианта ответов: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купить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привезти в РФ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подобрать аналог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другое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 (тип ответа – множественный выбор)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62851"/>
                  </a:ext>
                </a:extLst>
              </a:tr>
              <a:tr h="101965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 каким типом сырья у Вас возникли сложности</a:t>
                      </a: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?</a:t>
                      </a: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Заполняется для каждой проблемной позиции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Если </a:t>
                      </a: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озможно, сделать закрепленные варианты ответов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b="1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ru-RU" sz="800" b="1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арианта ответов:</a:t>
                      </a:r>
                      <a:br>
                        <a:rPr lang="ru-RU" sz="800" b="1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. полимер</a:t>
                      </a:r>
                      <a:b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 добавки</a:t>
                      </a:r>
                      <a:b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. другое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848123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Сообщите производителя и марку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</a:rPr>
                        <a:t>сырья, 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с которым у Вас возникли сложности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730821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Укажите потребность в сырье, с которым у Вас возникли сложности (в тоннах в месяц)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158709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Для производства каких изделий Вы используете сырье, с которым возникли сложности? 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729616"/>
                  </a:ext>
                </a:extLst>
              </a:tr>
              <a:tr h="3371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Имеются ли у Вас дополнительные комментарии?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комментарий (по желанию)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230023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 bwMode="auto">
          <a:xfrm>
            <a:off x="358775" y="3516284"/>
            <a:ext cx="3623504" cy="10092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1200"/>
              </a:spcAft>
            </a:pPr>
            <a:r>
              <a:rPr lang="ru-RU" sz="1200" b="1" dirty="0" smtClean="0">
                <a:solidFill>
                  <a:schemeClr val="tx2"/>
                </a:solidFill>
              </a:rPr>
              <a:t>Для </a:t>
            </a:r>
            <a:r>
              <a:rPr lang="ru-RU" sz="1200" b="1" dirty="0">
                <a:solidFill>
                  <a:schemeClr val="tx2"/>
                </a:solidFill>
              </a:rPr>
              <a:t>этого по каждой позиции необходимо заполнить форму обратной </a:t>
            </a:r>
            <a:r>
              <a:rPr lang="ru-RU" sz="1200" b="1" dirty="0" smtClean="0">
                <a:solidFill>
                  <a:schemeClr val="tx2"/>
                </a:solidFill>
              </a:rPr>
              <a:t>связи</a:t>
            </a:r>
            <a:endParaRPr lang="ru-RU" sz="1200" b="1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Мы </a:t>
            </a:r>
            <a:r>
              <a:rPr lang="ru-RU" sz="1200" dirty="0">
                <a:solidFill>
                  <a:schemeClr val="tx2"/>
                </a:solidFill>
              </a:rPr>
              <a:t>примем </a:t>
            </a:r>
            <a:r>
              <a:rPr lang="ru-RU" sz="1200" dirty="0" smtClean="0">
                <a:solidFill>
                  <a:schemeClr val="tx2"/>
                </a:solidFill>
              </a:rPr>
              <a:t>информацию </a:t>
            </a:r>
            <a:r>
              <a:rPr lang="ru-RU" sz="1200" dirty="0">
                <a:solidFill>
                  <a:schemeClr val="tx2"/>
                </a:solidFill>
              </a:rPr>
              <a:t>в проработку, а наши специалисты </a:t>
            </a:r>
            <a:r>
              <a:rPr lang="ru-RU" sz="1200" dirty="0" smtClean="0">
                <a:solidFill>
                  <a:schemeClr val="tx2"/>
                </a:solidFill>
              </a:rPr>
              <a:t>при необходимости </a:t>
            </a:r>
            <a:r>
              <a:rPr lang="ru-RU" sz="1200" dirty="0">
                <a:solidFill>
                  <a:schemeClr val="tx2"/>
                </a:solidFill>
              </a:rPr>
              <a:t>с вами </a:t>
            </a:r>
            <a:r>
              <a:rPr lang="ru-RU" sz="1200" dirty="0" smtClean="0">
                <a:solidFill>
                  <a:schemeClr val="tx2"/>
                </a:solidFill>
              </a:rPr>
              <a:t>свяжутся.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13295" y="3466407"/>
            <a:ext cx="3963844" cy="473826"/>
          </a:xfrm>
          <a:prstGeom prst="rect">
            <a:avLst/>
          </a:prstGeom>
          <a:noFill/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 bwMode="auto">
          <a:xfrm rot="5400000">
            <a:off x="4192331" y="3631320"/>
            <a:ext cx="313617" cy="14400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58775" y="1109620"/>
            <a:ext cx="3623504" cy="417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1200"/>
              </a:spcAft>
            </a:pPr>
            <a:r>
              <a:rPr lang="ru-RU" sz="1200" dirty="0">
                <a:solidFill>
                  <a:schemeClr val="tx2"/>
                </a:solidFill>
              </a:rPr>
              <a:t>Информацию по возникшей проблематике можно </a:t>
            </a:r>
            <a:r>
              <a:rPr lang="ru-RU" sz="1200" dirty="0" smtClean="0">
                <a:solidFill>
                  <a:schemeClr val="tx2"/>
                </a:solidFill>
              </a:rPr>
              <a:t>направить: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20" name="Овал 19"/>
          <p:cNvSpPr>
            <a:spLocks noChangeAspect="1"/>
          </p:cNvSpPr>
          <p:nvPr/>
        </p:nvSpPr>
        <p:spPr bwMode="auto">
          <a:xfrm>
            <a:off x="359595" y="1645365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Овал 20"/>
          <p:cNvSpPr>
            <a:spLocks noChangeAspect="1"/>
          </p:cNvSpPr>
          <p:nvPr/>
        </p:nvSpPr>
        <p:spPr bwMode="auto">
          <a:xfrm>
            <a:off x="2586769" y="1645365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Овал 21"/>
          <p:cNvSpPr>
            <a:spLocks noChangeAspect="1"/>
          </p:cNvSpPr>
          <p:nvPr/>
        </p:nvSpPr>
        <p:spPr bwMode="auto">
          <a:xfrm>
            <a:off x="2586769" y="2559228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Овал 22"/>
          <p:cNvSpPr>
            <a:spLocks noChangeAspect="1"/>
          </p:cNvSpPr>
          <p:nvPr/>
        </p:nvSpPr>
        <p:spPr bwMode="auto">
          <a:xfrm>
            <a:off x="387036" y="2559228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633069" y="1660332"/>
            <a:ext cx="1818300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на почту клиентского менеджера технического сервиса</a:t>
            </a: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39800" y="1668988"/>
            <a:ext cx="1381026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/>
              <a:t>в </a:t>
            </a:r>
            <a:r>
              <a:rPr lang="ru-RU" sz="1200" dirty="0"/>
              <a:t>личном кабинете в системе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en-US" sz="1200" dirty="0" smtClean="0"/>
              <a:t>E-commerce</a:t>
            </a:r>
            <a:endParaRPr lang="ru-RU" sz="1200" dirty="0"/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2633069" y="2579257"/>
            <a:ext cx="1818300" cy="3693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на общую почту СИБУР и СИБУР </a:t>
            </a:r>
            <a:r>
              <a:rPr lang="ru-RU" sz="1200" dirty="0" err="1" smtClean="0">
                <a:solidFill>
                  <a:schemeClr val="tx2"/>
                </a:solidFill>
              </a:rPr>
              <a:t>ПолиЛаб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464176" y="2579257"/>
            <a:ext cx="1813288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на почту клиентского менеджера отдела продаж</a:t>
            </a:r>
          </a:p>
        </p:txBody>
      </p:sp>
      <p:sp>
        <p:nvSpPr>
          <p:cNvPr id="24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962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ши контакты в Сибур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45"/>
          </p:nvPr>
        </p:nvSpPr>
        <p:spPr>
          <a:xfrm>
            <a:off x="1991526" y="2620732"/>
            <a:ext cx="1368000" cy="1733550"/>
          </a:xfrm>
        </p:spPr>
        <p:txBody>
          <a:bodyPr vert="horz" lIns="0" tIns="0" rIns="0" bIns="0" rtlCol="0"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dirty="0" smtClean="0"/>
              <a:t>Мамлеева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Камиля 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Дамировна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Эксперт</a:t>
            </a:r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Технический сервис</a:t>
            </a:r>
          </a:p>
          <a:p>
            <a:pPr algn="ctr">
              <a:spcAft>
                <a:spcPts val="0"/>
              </a:spcAft>
            </a:pP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+7 </a:t>
            </a:r>
            <a:r>
              <a:rPr lang="ru-RU" sz="900" b="0" dirty="0" smtClean="0"/>
              <a:t>9</a:t>
            </a:r>
            <a:r>
              <a:rPr lang="en-US" sz="900" b="0" dirty="0" smtClean="0"/>
              <a:t>26</a:t>
            </a:r>
            <a:r>
              <a:rPr lang="ru-RU" sz="900" b="0" dirty="0" smtClean="0"/>
              <a:t> </a:t>
            </a:r>
            <a:r>
              <a:rPr lang="en-US" sz="900" b="0" dirty="0" smtClean="0"/>
              <a:t>845</a:t>
            </a:r>
            <a:r>
              <a:rPr lang="ru-RU" sz="900" b="0" dirty="0" smtClean="0"/>
              <a:t> </a:t>
            </a:r>
            <a:r>
              <a:rPr lang="en-US" sz="900" b="0" dirty="0" smtClean="0"/>
              <a:t>77</a:t>
            </a:r>
            <a:r>
              <a:rPr lang="ru-RU" sz="900" b="0" dirty="0" smtClean="0"/>
              <a:t> </a:t>
            </a:r>
            <a:r>
              <a:rPr lang="en-US" sz="900" b="0" dirty="0" smtClean="0"/>
              <a:t>61</a:t>
            </a:r>
            <a:endParaRPr lang="ru-RU" sz="900" b="0" dirty="0" smtClean="0"/>
          </a:p>
          <a:p>
            <a:pPr algn="ctr">
              <a:spcAft>
                <a:spcPts val="0"/>
              </a:spcAft>
            </a:pPr>
            <a:r>
              <a:rPr lang="en-US" sz="900" b="0" dirty="0" smtClean="0"/>
              <a:t>mamleevakd@sibur.ru&gt;</a:t>
            </a:r>
            <a:endParaRPr lang="ru-RU" sz="900" b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6"/>
          </p:nvPr>
        </p:nvSpPr>
        <p:spPr>
          <a:xfrm>
            <a:off x="313854" y="2620732"/>
            <a:ext cx="1368000" cy="1733550"/>
          </a:xfrm>
        </p:spPr>
        <p:txBody>
          <a:bodyPr/>
          <a:lstStyle/>
          <a:p>
            <a:pPr algn="ctr">
              <a:spcAft>
                <a:spcPts val="0"/>
              </a:spcAft>
            </a:pPr>
            <a:r>
              <a:rPr lang="ru-RU" dirty="0" smtClean="0"/>
              <a:t>Ершов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Андрей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Евгеньевич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Главный Эксперт</a:t>
            </a: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Технический сервис</a:t>
            </a:r>
          </a:p>
          <a:p>
            <a:pPr algn="ctr">
              <a:spcAft>
                <a:spcPts val="0"/>
              </a:spcAft>
            </a:pP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+7 </a:t>
            </a:r>
            <a:r>
              <a:rPr lang="en-US" sz="900" b="0" dirty="0" smtClean="0"/>
              <a:t>905 508 22 65</a:t>
            </a: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en-US" sz="900" b="0" dirty="0" smtClean="0"/>
              <a:t>ershovae@sibur.ru</a:t>
            </a:r>
            <a:endParaRPr lang="ru-RU" sz="900" b="0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938" y="1131888"/>
            <a:ext cx="1161486" cy="116148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9563" y="684196"/>
            <a:ext cx="3994151" cy="18055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1393" y="2607703"/>
            <a:ext cx="4072901" cy="1700280"/>
          </a:xfrm>
          <a:prstGeom prst="rect">
            <a:avLst/>
          </a:prstGeom>
        </p:spPr>
      </p:pic>
      <p:pic>
        <p:nvPicPr>
          <p:cNvPr id="11" name="Рисунок 10"/>
          <p:cNvPicPr>
            <a:picLocks noGrp="1" noChangeAspect="1"/>
          </p:cNvPicPr>
          <p:nvPr>
            <p:ph type="pic" sz="quarter" idx="40"/>
          </p:nvPr>
        </p:nvPicPr>
        <p:blipFill>
          <a:blip r:embed="rId5"/>
          <a:srcRect t="1206" b="1206"/>
          <a:stretch>
            <a:fillRect/>
          </a:stretch>
        </p:blipFill>
        <p:spPr>
          <a:xfrm>
            <a:off x="1799614" y="1045212"/>
            <a:ext cx="1477107" cy="1491857"/>
          </a:xfrm>
          <a:prstGeom prst="ellipse">
            <a:avLst/>
          </a:prstGeom>
          <a:ln w="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Picture Placeholder 6"/>
          <p:cNvSpPr>
            <a:spLocks noGrp="1"/>
          </p:cNvSpPr>
          <p:nvPr>
            <p:ph type="pic" sz="quarter" idx="39"/>
          </p:nvPr>
        </p:nvSpPr>
        <p:spPr>
          <a:xfrm>
            <a:off x="313853" y="1071148"/>
            <a:ext cx="1368001" cy="1368000"/>
          </a:xfrm>
        </p:spPr>
      </p:sp>
      <p:sp>
        <p:nvSpPr>
          <p:cNvPr id="14" name="Текст 11"/>
          <p:cNvSpPr>
            <a:spLocks noGrp="1"/>
          </p:cNvSpPr>
          <p:nvPr>
            <p:ph type="body" sz="quarter" idx="45"/>
          </p:nvPr>
        </p:nvSpPr>
        <p:spPr>
          <a:xfrm>
            <a:off x="3554233" y="2620732"/>
            <a:ext cx="1405330" cy="1733550"/>
          </a:xfrm>
        </p:spPr>
        <p:txBody>
          <a:bodyPr vert="horz" lIns="0" tIns="0" rIns="0" bIns="0" rtlCol="0"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dirty="0" smtClean="0"/>
              <a:t>Ромеро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Бланко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Хосе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Менеджер</a:t>
            </a:r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СИБУР ПолиЛаб</a:t>
            </a:r>
          </a:p>
          <a:p>
            <a:pPr algn="ctr">
              <a:spcAft>
                <a:spcPts val="0"/>
              </a:spcAft>
            </a:pP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+7 </a:t>
            </a:r>
            <a:r>
              <a:rPr lang="en-US" sz="900" b="0" dirty="0" smtClean="0"/>
              <a:t>982</a:t>
            </a:r>
            <a:r>
              <a:rPr lang="ru-RU" sz="900" b="0" dirty="0" smtClean="0"/>
              <a:t> </a:t>
            </a:r>
            <a:r>
              <a:rPr lang="en-US" sz="900" b="0" dirty="0" smtClean="0"/>
              <a:t>961</a:t>
            </a:r>
            <a:r>
              <a:rPr lang="ru-RU" sz="900" b="0" dirty="0" smtClean="0"/>
              <a:t> </a:t>
            </a:r>
            <a:r>
              <a:rPr lang="en-US" sz="900" b="0" dirty="0" smtClean="0"/>
              <a:t>35 85</a:t>
            </a: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en-US" sz="900" b="0" dirty="0" smtClean="0"/>
              <a:t>romeroblankokho@sibur.ru</a:t>
            </a:r>
            <a:endParaRPr lang="ru-RU" sz="900" b="0" dirty="0"/>
          </a:p>
        </p:txBody>
      </p:sp>
      <p:sp>
        <p:nvSpPr>
          <p:cNvPr id="18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  <p:pic>
        <p:nvPicPr>
          <p:cNvPr id="15" name="Picture 8" descr="https://social.sibur.ru/upload/resize_cache/main/fed/288_296_2/fed71a18d52c77a7340b319d1f9ce44e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0" t="-2374" r="6429" b="14547"/>
          <a:stretch/>
        </p:blipFill>
        <p:spPr bwMode="auto">
          <a:xfrm>
            <a:off x="3445210" y="1043434"/>
            <a:ext cx="1555507" cy="154073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 descr="https://social.sibur.ru/upload/resize_cache/main/2c2/288_296_2/2c29d7d1bb7f80c0271cdc38afae7056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9" t="1584" r="14413" b="20572"/>
          <a:stretch/>
        </p:blipFill>
        <p:spPr bwMode="auto">
          <a:xfrm>
            <a:off x="286373" y="1055364"/>
            <a:ext cx="1395481" cy="1483327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27392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лючевые приорите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4"/>
          </p:nvPr>
        </p:nvSpPr>
        <p:spPr>
          <a:xfrm>
            <a:off x="481335" y="1724558"/>
            <a:ext cx="3588069" cy="800219"/>
          </a:xfrm>
        </p:spPr>
        <p:txBody>
          <a:bodyPr/>
          <a:lstStyle/>
          <a:p>
            <a:r>
              <a:rPr lang="ru-RU" b="1" dirty="0"/>
              <a:t>Стабильное </a:t>
            </a:r>
            <a:r>
              <a:rPr lang="ru-RU" b="1" dirty="0" smtClean="0"/>
              <a:t>производство</a:t>
            </a:r>
            <a:endParaRPr lang="ru-RU" b="1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марочного ассортимента</a:t>
            </a:r>
          </a:p>
          <a:p>
            <a:pPr lvl="1"/>
            <a:r>
              <a:rPr lang="ru-RU" b="0" dirty="0" smtClean="0"/>
              <a:t>Достаточные объёмы </a:t>
            </a:r>
            <a:r>
              <a:rPr lang="ru-RU" b="0" dirty="0"/>
              <a:t>производства</a:t>
            </a:r>
          </a:p>
          <a:p>
            <a:endParaRPr lang="ru-RU" b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45"/>
          </p:nvPr>
        </p:nvSpPr>
        <p:spPr>
          <a:xfrm>
            <a:off x="481335" y="3401769"/>
            <a:ext cx="3345904" cy="769441"/>
          </a:xfrm>
        </p:spPr>
        <p:txBody>
          <a:bodyPr/>
          <a:lstStyle/>
          <a:p>
            <a:r>
              <a:rPr lang="ru-RU" b="1" dirty="0" smtClean="0"/>
              <a:t>Качество</a:t>
            </a:r>
            <a:endParaRPr lang="ru-RU" b="1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качества базовых марок</a:t>
            </a:r>
          </a:p>
          <a:p>
            <a:pPr lvl="1"/>
            <a:r>
              <a:rPr lang="ru-RU" b="0" dirty="0"/>
              <a:t>Стабильное качество специальных </a:t>
            </a:r>
            <a:r>
              <a:rPr lang="ru-RU" b="0" dirty="0" smtClean="0"/>
              <a:t>марок</a:t>
            </a:r>
            <a:endParaRPr lang="ru-RU" b="0" dirty="0"/>
          </a:p>
          <a:p>
            <a:pPr lvl="1"/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6"/>
          </p:nvPr>
        </p:nvSpPr>
        <p:spPr>
          <a:xfrm>
            <a:off x="4572000" y="1724556"/>
            <a:ext cx="3672699" cy="584775"/>
          </a:xfrm>
        </p:spPr>
        <p:txBody>
          <a:bodyPr/>
          <a:lstStyle/>
          <a:p>
            <a:r>
              <a:rPr lang="ru-RU" b="1" dirty="0" smtClean="0"/>
              <a:t>Поддержка партнеров</a:t>
            </a:r>
          </a:p>
          <a:p>
            <a:pPr lvl="1"/>
            <a:r>
              <a:rPr lang="ru-RU" b="0" dirty="0" smtClean="0"/>
              <a:t>Альтернативные добавки и </a:t>
            </a:r>
            <a:r>
              <a:rPr lang="ru-RU" b="0" dirty="0"/>
              <a:t>мастербатчи</a:t>
            </a:r>
          </a:p>
          <a:p>
            <a:pPr lvl="1"/>
            <a:r>
              <a:rPr lang="ru-RU" b="0" dirty="0"/>
              <a:t>Рекомендации по ведению переработки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7"/>
          </p:nvPr>
        </p:nvSpPr>
        <p:spPr>
          <a:xfrm>
            <a:off x="4572000" y="3401769"/>
            <a:ext cx="4213225" cy="584775"/>
          </a:xfrm>
        </p:spPr>
        <p:txBody>
          <a:bodyPr/>
          <a:lstStyle/>
          <a:p>
            <a:r>
              <a:rPr lang="ru-RU" b="1" dirty="0" smtClean="0"/>
              <a:t>Импортозамещение</a:t>
            </a:r>
          </a:p>
          <a:p>
            <a:pPr lvl="1"/>
            <a:r>
              <a:rPr lang="ru-RU" b="0" dirty="0" smtClean="0"/>
              <a:t>Рекомендации </a:t>
            </a:r>
            <a:r>
              <a:rPr lang="ru-RU" b="0" dirty="0"/>
              <a:t>по альтернативному сырью СИБУР</a:t>
            </a:r>
          </a:p>
          <a:p>
            <a:pPr lvl="1"/>
            <a:r>
              <a:rPr lang="ru-RU" b="0" dirty="0"/>
              <a:t>Подбор и разработка необходимых рецептур для </a:t>
            </a:r>
            <a:r>
              <a:rPr lang="ru-RU" b="0" dirty="0" smtClean="0"/>
              <a:t>клиента</a:t>
            </a:r>
            <a:endParaRPr lang="ru-RU" b="0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260" y="1196600"/>
            <a:ext cx="468000" cy="468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82" y="2913675"/>
            <a:ext cx="467178" cy="46717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1293221"/>
            <a:ext cx="389112" cy="38911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2913675"/>
            <a:ext cx="452670" cy="45267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 bwMode="auto">
          <a:xfrm>
            <a:off x="358776" y="1020510"/>
            <a:ext cx="3379848" cy="3530853"/>
          </a:xfrm>
          <a:prstGeom prst="rect">
            <a:avLst/>
          </a:prstGeom>
          <a:noFill/>
          <a:ln w="28575" cap="rnd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3256" y="292737"/>
            <a:ext cx="6468258" cy="672627"/>
          </a:xfrm>
        </p:spPr>
        <p:txBody>
          <a:bodyPr vert="horz"/>
          <a:lstStyle/>
          <a:p>
            <a:r>
              <a:rPr lang="ru-RU" dirty="0"/>
              <a:t>Поддержание текущего уровня </a:t>
            </a:r>
            <a:r>
              <a:rPr lang="ru-RU" dirty="0" smtClean="0"/>
              <a:t>качества продук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235654"/>
              </p:ext>
            </p:extLst>
          </p:nvPr>
        </p:nvGraphicFramePr>
        <p:xfrm>
          <a:off x="354918" y="1902911"/>
          <a:ext cx="5408943" cy="1032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80232">
                  <a:extLst>
                    <a:ext uri="{9D8B030D-6E8A-4147-A177-3AD203B41FA5}">
                      <a16:colId xmlns:a16="http://schemas.microsoft.com/office/drawing/2014/main" val="2055986514"/>
                    </a:ext>
                  </a:extLst>
                </a:gridCol>
                <a:gridCol w="670338">
                  <a:extLst>
                    <a:ext uri="{9D8B030D-6E8A-4147-A177-3AD203B41FA5}">
                      <a16:colId xmlns:a16="http://schemas.microsoft.com/office/drawing/2014/main" val="2181530847"/>
                    </a:ext>
                  </a:extLst>
                </a:gridCol>
                <a:gridCol w="1920778">
                  <a:extLst>
                    <a:ext uri="{9D8B030D-6E8A-4147-A177-3AD203B41FA5}">
                      <a16:colId xmlns:a16="http://schemas.microsoft.com/office/drawing/2014/main" val="4208301344"/>
                    </a:ext>
                  </a:extLst>
                </a:gridCol>
                <a:gridCol w="1637595">
                  <a:extLst>
                    <a:ext uri="{9D8B030D-6E8A-4147-A177-3AD203B41FA5}">
                      <a16:colId xmlns:a16="http://schemas.microsoft.com/office/drawing/2014/main" val="3917534502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Базовые добавки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56312"/>
                  </a:ext>
                </a:extLst>
              </a:tr>
              <a:tr h="2044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нтиоксидант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Э, П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елтизна, запах, </a:t>
                      </a: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ложения, гел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одбор полных аналогов по химическому составу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Аттестация НИИ «НИОСТ»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роведение испытаний в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олиЛаб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67035"/>
                  </a:ext>
                </a:extLst>
              </a:tr>
              <a:tr h="2044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нтацид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Э, П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елтизна, забивка фильтров, отложения, корроз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017364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683253"/>
              </p:ext>
            </p:extLst>
          </p:nvPr>
        </p:nvGraphicFramePr>
        <p:xfrm>
          <a:off x="363860" y="2973946"/>
          <a:ext cx="5400001" cy="11190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04020">
                  <a:extLst>
                    <a:ext uri="{9D8B030D-6E8A-4147-A177-3AD203B41FA5}">
                      <a16:colId xmlns:a16="http://schemas.microsoft.com/office/drawing/2014/main" val="2055986514"/>
                    </a:ext>
                  </a:extLst>
                </a:gridCol>
                <a:gridCol w="662796">
                  <a:extLst>
                    <a:ext uri="{9D8B030D-6E8A-4147-A177-3AD203B41FA5}">
                      <a16:colId xmlns:a16="http://schemas.microsoft.com/office/drawing/2014/main" val="2181530847"/>
                    </a:ext>
                  </a:extLst>
                </a:gridCol>
                <a:gridCol w="1917601">
                  <a:extLst>
                    <a:ext uri="{9D8B030D-6E8A-4147-A177-3AD203B41FA5}">
                      <a16:colId xmlns:a16="http://schemas.microsoft.com/office/drawing/2014/main" val="4208301344"/>
                    </a:ext>
                  </a:extLst>
                </a:gridCol>
                <a:gridCol w="1615584">
                  <a:extLst>
                    <a:ext uri="{9D8B030D-6E8A-4147-A177-3AD203B41FA5}">
                      <a16:colId xmlns:a16="http://schemas.microsoft.com/office/drawing/2014/main" val="3115397584"/>
                    </a:ext>
                  </a:extLst>
                </a:gridCol>
              </a:tblGrid>
              <a:tr h="252881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Специальные добавки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56312"/>
                  </a:ext>
                </a:extLst>
              </a:tr>
              <a:tr h="2411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роцессинг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Э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Технологичность, отложения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одбор полных аналогов по химическому составу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Аттестация НИИ «НИОСТ»</a:t>
                      </a:r>
                    </a:p>
                    <a:p>
                      <a:pPr marL="0" marR="0" lvl="0" indent="0" algn="just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роведение испытаний в </a:t>
                      </a: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олиЛаб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017364"/>
                  </a:ext>
                </a:extLst>
              </a:tr>
              <a:tr h="32241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Слип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Э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П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Нагар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налёт, </a:t>
                      </a:r>
                      <a:r>
                        <a:rPr lang="ru-RU" sz="10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органолептик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288581"/>
                  </a:ext>
                </a:extLst>
              </a:tr>
              <a:tr h="28534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Антибло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Э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ПП</a:t>
                      </a: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Блок-сила 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и налёт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020421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4298195"/>
              </p:ext>
            </p:extLst>
          </p:nvPr>
        </p:nvGraphicFramePr>
        <p:xfrm>
          <a:off x="343256" y="4132265"/>
          <a:ext cx="5408935" cy="5749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06012">
                  <a:extLst>
                    <a:ext uri="{9D8B030D-6E8A-4147-A177-3AD203B41FA5}">
                      <a16:colId xmlns:a16="http://schemas.microsoft.com/office/drawing/2014/main" val="2055986514"/>
                    </a:ext>
                  </a:extLst>
                </a:gridCol>
                <a:gridCol w="625220">
                  <a:extLst>
                    <a:ext uri="{9D8B030D-6E8A-4147-A177-3AD203B41FA5}">
                      <a16:colId xmlns:a16="http://schemas.microsoft.com/office/drawing/2014/main" val="2181530847"/>
                    </a:ext>
                  </a:extLst>
                </a:gridCol>
                <a:gridCol w="1978784">
                  <a:extLst>
                    <a:ext uri="{9D8B030D-6E8A-4147-A177-3AD203B41FA5}">
                      <a16:colId xmlns:a16="http://schemas.microsoft.com/office/drawing/2014/main" val="4208301344"/>
                    </a:ext>
                  </a:extLst>
                </a:gridCol>
                <a:gridCol w="1598919">
                  <a:extLst>
                    <a:ext uri="{9D8B030D-6E8A-4147-A177-3AD203B41FA5}">
                      <a16:colId xmlns:a16="http://schemas.microsoft.com/office/drawing/2014/main" val="1638659977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Специальная хим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56312"/>
                  </a:ext>
                </a:extLst>
              </a:tr>
              <a:tr h="2044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ономе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Э, П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ФМХ, технологичность, спец. свойств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Усиленный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контроль качества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67035"/>
                  </a:ext>
                </a:extLst>
              </a:tr>
            </a:tbl>
          </a:graphicData>
        </a:graphic>
      </p:graphicFrame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0969405"/>
              </p:ext>
            </p:extLst>
          </p:nvPr>
        </p:nvGraphicFramePr>
        <p:xfrm>
          <a:off x="354925" y="869492"/>
          <a:ext cx="5291999" cy="15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91653">
                  <a:extLst>
                    <a:ext uri="{9D8B030D-6E8A-4147-A177-3AD203B41FA5}">
                      <a16:colId xmlns:a16="http://schemas.microsoft.com/office/drawing/2014/main" val="2055986514"/>
                    </a:ext>
                  </a:extLst>
                </a:gridCol>
                <a:gridCol w="763051">
                  <a:extLst>
                    <a:ext uri="{9D8B030D-6E8A-4147-A177-3AD203B41FA5}">
                      <a16:colId xmlns:a16="http://schemas.microsoft.com/office/drawing/2014/main" val="2181530847"/>
                    </a:ext>
                  </a:extLst>
                </a:gridCol>
                <a:gridCol w="1923394">
                  <a:extLst>
                    <a:ext uri="{9D8B030D-6E8A-4147-A177-3AD203B41FA5}">
                      <a16:colId xmlns:a16="http://schemas.microsoft.com/office/drawing/2014/main" val="4208301344"/>
                    </a:ext>
                  </a:extLst>
                </a:gridCol>
                <a:gridCol w="1513901">
                  <a:extLst>
                    <a:ext uri="{9D8B030D-6E8A-4147-A177-3AD203B41FA5}">
                      <a16:colId xmlns:a16="http://schemas.microsoft.com/office/drawing/2014/main" val="463855283"/>
                    </a:ext>
                  </a:extLst>
                </a:gridCol>
              </a:tblGrid>
              <a:tr h="1152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Компонент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дукт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               Риски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Митигация рисков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56312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 bwMode="auto">
          <a:xfrm>
            <a:off x="6331432" y="0"/>
            <a:ext cx="2812568" cy="470718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966045" y="1317283"/>
            <a:ext cx="2129995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Проработка </a:t>
            </a:r>
            <a:r>
              <a:rPr lang="ru-RU" sz="1100" dirty="0">
                <a:solidFill>
                  <a:schemeClr val="bg1"/>
                </a:solidFill>
              </a:rPr>
              <a:t>альтернативных поставщиков из </a:t>
            </a:r>
            <a:r>
              <a:rPr lang="ru-RU" sz="1100" dirty="0" err="1">
                <a:solidFill>
                  <a:schemeClr val="bg1"/>
                </a:solidFill>
              </a:rPr>
              <a:t>несанкционных</a:t>
            </a:r>
            <a:r>
              <a:rPr lang="ru-RU" sz="1100" dirty="0">
                <a:solidFill>
                  <a:schemeClr val="bg1"/>
                </a:solidFill>
              </a:rPr>
              <a:t> </a:t>
            </a:r>
            <a:r>
              <a:rPr lang="ru-RU" sz="1100" dirty="0" smtClean="0">
                <a:solidFill>
                  <a:schemeClr val="bg1"/>
                </a:solidFill>
              </a:rPr>
              <a:t>регионов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439420" y="292737"/>
            <a:ext cx="259659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bg1"/>
                </a:solidFill>
              </a:rPr>
              <a:t>Что команда СИБУР делает для сохранения объёма и качества </a:t>
            </a:r>
            <a:r>
              <a:rPr lang="ru-RU" sz="1400" b="1" dirty="0" smtClean="0">
                <a:solidFill>
                  <a:schemeClr val="bg1"/>
                </a:solidFill>
              </a:rPr>
              <a:t>продуктов?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445368" y="1313247"/>
            <a:ext cx="38461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01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445368" y="2015343"/>
            <a:ext cx="38461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02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39876" y="2879728"/>
            <a:ext cx="38461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03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439420" y="3751156"/>
            <a:ext cx="38461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04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960554" y="2020319"/>
            <a:ext cx="2426387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Проработка </a:t>
            </a:r>
            <a:r>
              <a:rPr lang="ru-RU" sz="1100" dirty="0">
                <a:solidFill>
                  <a:schemeClr val="bg1"/>
                </a:solidFill>
              </a:rPr>
              <a:t>альтернативных рецептурных решений с минимальным влиянием на потребительские </a:t>
            </a:r>
            <a:r>
              <a:rPr lang="ru-RU" sz="1100" dirty="0" smtClean="0">
                <a:solidFill>
                  <a:schemeClr val="bg1"/>
                </a:solidFill>
              </a:rPr>
              <a:t>свойств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6960554" y="3751156"/>
            <a:ext cx="2426389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100" dirty="0" err="1" smtClean="0">
                <a:solidFill>
                  <a:schemeClr val="bg1"/>
                </a:solidFill>
              </a:rPr>
              <a:t>Омологация</a:t>
            </a:r>
            <a:r>
              <a:rPr lang="ru-RU" sz="1100" dirty="0" smtClean="0">
                <a:solidFill>
                  <a:schemeClr val="bg1"/>
                </a:solidFill>
              </a:rPr>
              <a:t> </a:t>
            </a:r>
            <a:r>
              <a:rPr lang="ru-RU" sz="1100" dirty="0">
                <a:solidFill>
                  <a:schemeClr val="bg1"/>
                </a:solidFill>
              </a:rPr>
              <a:t>новых партий </a:t>
            </a:r>
            <a:r>
              <a:rPr lang="ru-RU" sz="1100" dirty="0" smtClean="0">
                <a:solidFill>
                  <a:schemeClr val="bg1"/>
                </a:solidFill>
              </a:rPr>
              <a:t/>
            </a:r>
            <a:br>
              <a:rPr lang="ru-RU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в </a:t>
            </a:r>
            <a:r>
              <a:rPr lang="ru-RU" sz="1100" dirty="0" err="1">
                <a:solidFill>
                  <a:schemeClr val="bg1"/>
                </a:solidFill>
              </a:rPr>
              <a:t>ПолиЛаб</a:t>
            </a:r>
            <a:r>
              <a:rPr lang="ru-RU" sz="1100" dirty="0">
                <a:solidFill>
                  <a:schemeClr val="bg1"/>
                </a:solidFill>
              </a:rPr>
              <a:t> перед отправкой клиентам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960556" y="2879728"/>
            <a:ext cx="242638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Ускоренная </a:t>
            </a:r>
            <a:r>
              <a:rPr lang="ru-RU" sz="1100" dirty="0" err="1">
                <a:solidFill>
                  <a:schemeClr val="bg1"/>
                </a:solidFill>
              </a:rPr>
              <a:t>омологация</a:t>
            </a:r>
            <a:r>
              <a:rPr lang="ru-RU" sz="1100" dirty="0">
                <a:solidFill>
                  <a:schemeClr val="bg1"/>
                </a:solidFill>
              </a:rPr>
              <a:t> катализаторов и добавок </a:t>
            </a:r>
            <a:r>
              <a:rPr lang="ru-RU" sz="1100" dirty="0" smtClean="0">
                <a:solidFill>
                  <a:schemeClr val="bg1"/>
                </a:solidFill>
              </a:rPr>
              <a:t>в </a:t>
            </a:r>
            <a:r>
              <a:rPr lang="ru-RU" sz="1100" dirty="0">
                <a:solidFill>
                  <a:schemeClr val="bg1"/>
                </a:solidFill>
              </a:rPr>
              <a:t>НИИ «НИОСТ» и </a:t>
            </a:r>
            <a:r>
              <a:rPr lang="ru-RU" sz="1100" dirty="0" err="1" smtClean="0">
                <a:solidFill>
                  <a:schemeClr val="bg1"/>
                </a:solidFill>
              </a:rPr>
              <a:t>ПолиЛаб</a:t>
            </a:r>
            <a:r>
              <a:rPr lang="ru-RU" sz="1100" dirty="0" smtClean="0">
                <a:solidFill>
                  <a:schemeClr val="bg1"/>
                </a:solidFill>
              </a:rPr>
              <a:t> перед </a:t>
            </a:r>
            <a:r>
              <a:rPr lang="ru-RU" sz="1100" dirty="0">
                <a:solidFill>
                  <a:schemeClr val="bg1"/>
                </a:solidFill>
              </a:rPr>
              <a:t>запуском в </a:t>
            </a:r>
            <a:r>
              <a:rPr lang="ru-RU" sz="1100" dirty="0" smtClean="0">
                <a:solidFill>
                  <a:schemeClr val="bg1"/>
                </a:solidFill>
              </a:rPr>
              <a:t>производство</a:t>
            </a:r>
            <a:endParaRPr lang="ru-RU" sz="1100" dirty="0">
              <a:solidFill>
                <a:schemeClr val="bg1"/>
              </a:solidFill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647583"/>
              </p:ext>
            </p:extLst>
          </p:nvPr>
        </p:nvGraphicFramePr>
        <p:xfrm>
          <a:off x="354918" y="1136678"/>
          <a:ext cx="5408943" cy="727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80232">
                  <a:extLst>
                    <a:ext uri="{9D8B030D-6E8A-4147-A177-3AD203B41FA5}">
                      <a16:colId xmlns:a16="http://schemas.microsoft.com/office/drawing/2014/main" val="2055986514"/>
                    </a:ext>
                  </a:extLst>
                </a:gridCol>
                <a:gridCol w="670338">
                  <a:extLst>
                    <a:ext uri="{9D8B030D-6E8A-4147-A177-3AD203B41FA5}">
                      <a16:colId xmlns:a16="http://schemas.microsoft.com/office/drawing/2014/main" val="2181530847"/>
                    </a:ext>
                  </a:extLst>
                </a:gridCol>
                <a:gridCol w="1920778">
                  <a:extLst>
                    <a:ext uri="{9D8B030D-6E8A-4147-A177-3AD203B41FA5}">
                      <a16:colId xmlns:a16="http://schemas.microsoft.com/office/drawing/2014/main" val="4208301344"/>
                    </a:ext>
                  </a:extLst>
                </a:gridCol>
                <a:gridCol w="1637595">
                  <a:extLst>
                    <a:ext uri="{9D8B030D-6E8A-4147-A177-3AD203B41FA5}">
                      <a16:colId xmlns:a16="http://schemas.microsoft.com/office/drawing/2014/main" val="3917534502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Катализаторны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системы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36000" marB="36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2956312"/>
                  </a:ext>
                </a:extLst>
              </a:tr>
              <a:tr h="20447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Катализаторы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Э, ПП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ФМХ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технологичность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Подбор полных аналогов текущих катализаторов, одобренных на рынке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67035"/>
                  </a:ext>
                </a:extLst>
              </a:tr>
            </a:tbl>
          </a:graphicData>
        </a:graphic>
      </p:graphicFrame>
      <p:sp>
        <p:nvSpPr>
          <p:cNvPr id="28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5488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Прямоугольник 105"/>
          <p:cNvSpPr/>
          <p:nvPr/>
        </p:nvSpPr>
        <p:spPr bwMode="auto">
          <a:xfrm>
            <a:off x="0" y="1020510"/>
            <a:ext cx="4572000" cy="23024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1" name="Прямоугольник 100"/>
          <p:cNvSpPr/>
          <p:nvPr/>
        </p:nvSpPr>
        <p:spPr bwMode="auto">
          <a:xfrm>
            <a:off x="-30181" y="3322930"/>
            <a:ext cx="9174181" cy="122843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Большой объём </a:t>
            </a:r>
            <a:r>
              <a:rPr lang="ru-RU" dirty="0" err="1"/>
              <a:t>омологаций</a:t>
            </a:r>
            <a:r>
              <a:rPr lang="ru-RU" dirty="0"/>
              <a:t> в ближайшие полгода приведёт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к </a:t>
            </a:r>
            <a:r>
              <a:rPr lang="ru-RU" dirty="0"/>
              <a:t>изменениям подхода к тестированию продукт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0" name="Прямоугольник 9"/>
          <p:cNvSpPr>
            <a:spLocks/>
          </p:cNvSpPr>
          <p:nvPr/>
        </p:nvSpPr>
        <p:spPr bwMode="auto">
          <a:xfrm>
            <a:off x="-30181" y="1621040"/>
            <a:ext cx="3203125" cy="15657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Лабораторное тестирование нового катализатора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Полное тестирование и аттестация используемых добавок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Исследование и подбор лучших рецептур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ОПВ на новом катализаторе и рецептуре добавок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err="1">
                <a:latin typeface="Arial" charset="0"/>
              </a:rPr>
              <a:t>Омологация</a:t>
            </a:r>
            <a:r>
              <a:rPr lang="ru-RU" sz="800" dirty="0">
                <a:latin typeface="Arial" charset="0"/>
              </a:rPr>
              <a:t> в </a:t>
            </a:r>
            <a:r>
              <a:rPr lang="ru-RU" sz="800" dirty="0" err="1">
                <a:latin typeface="Arial" charset="0"/>
              </a:rPr>
              <a:t>Полилаб</a:t>
            </a:r>
            <a:endParaRPr lang="ru-RU" sz="800" dirty="0">
              <a:latin typeface="Arial" charset="0"/>
            </a:endParaRP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Детальный </a:t>
            </a:r>
            <a:r>
              <a:rPr lang="ru-RU" sz="800" dirty="0">
                <a:latin typeface="Arial" charset="0"/>
              </a:rPr>
              <a:t>подбор рекомендаций по переработке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>
                <a:latin typeface="Arial" charset="0"/>
              </a:rPr>
              <a:t>Определение всех характеристик на готовых изделиях 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>
                <a:latin typeface="Arial" charset="0"/>
              </a:rPr>
              <a:t>Тест продукта у клиента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Успешное </a:t>
            </a:r>
            <a:r>
              <a:rPr lang="ru-RU" sz="800" dirty="0">
                <a:latin typeface="Arial" charset="0"/>
              </a:rPr>
              <a:t>внедрение и серийная поставка </a:t>
            </a:r>
            <a:r>
              <a:rPr lang="ru-RU" sz="800" dirty="0" smtClean="0">
                <a:latin typeface="Arial" charset="0"/>
              </a:rPr>
              <a:t>материала</a:t>
            </a:r>
            <a:endParaRPr lang="ru-RU" sz="800" dirty="0"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5800" y="1121187"/>
            <a:ext cx="1287145" cy="3664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tx2"/>
                </a:solidFill>
              </a:rPr>
              <a:t>Обычный цикл </a:t>
            </a:r>
            <a:r>
              <a:rPr lang="ru-RU" sz="1200" b="1" dirty="0" err="1" smtClean="0">
                <a:solidFill>
                  <a:schemeClr val="tx2"/>
                </a:solidFill>
              </a:rPr>
              <a:t>омологации</a:t>
            </a:r>
            <a:endParaRPr lang="ru-RU" sz="1200" b="1" dirty="0" smtClean="0">
              <a:solidFill>
                <a:schemeClr val="tx2"/>
              </a:solidFill>
            </a:endParaRPr>
          </a:p>
        </p:txBody>
      </p:sp>
      <p:sp>
        <p:nvSpPr>
          <p:cNvPr id="17" name="Прямоугольник 16"/>
          <p:cNvSpPr>
            <a:spLocks/>
          </p:cNvSpPr>
          <p:nvPr/>
        </p:nvSpPr>
        <p:spPr bwMode="auto">
          <a:xfrm>
            <a:off x="6503828" y="1604403"/>
            <a:ext cx="2020802" cy="15967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Ускоренное тестирование катализаторов и </a:t>
            </a:r>
            <a:r>
              <a:rPr lang="ru-RU" sz="800" dirty="0" smtClean="0">
                <a:latin typeface="Arial" charset="0"/>
              </a:rPr>
              <a:t>добавок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ОПВ на новом катализаторе </a:t>
            </a:r>
            <a:r>
              <a:rPr lang="ru-RU" sz="800" dirty="0" smtClean="0">
                <a:latin typeface="Arial" charset="0"/>
              </a:rPr>
              <a:t/>
            </a:r>
            <a:br>
              <a:rPr lang="ru-RU" sz="800" dirty="0" smtClean="0">
                <a:latin typeface="Arial" charset="0"/>
              </a:rPr>
            </a:br>
            <a:r>
              <a:rPr lang="ru-RU" sz="800" dirty="0" smtClean="0">
                <a:latin typeface="Arial" charset="0"/>
              </a:rPr>
              <a:t>и </a:t>
            </a:r>
            <a:r>
              <a:rPr lang="ru-RU" sz="800" dirty="0">
                <a:latin typeface="Arial" charset="0"/>
              </a:rPr>
              <a:t>альтернативных добавках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 err="1">
                <a:latin typeface="Arial" charset="0"/>
              </a:rPr>
              <a:t>Омологация</a:t>
            </a:r>
            <a:r>
              <a:rPr lang="ru-RU" sz="800" dirty="0">
                <a:latin typeface="Arial" charset="0"/>
              </a:rPr>
              <a:t> в </a:t>
            </a:r>
            <a:r>
              <a:rPr lang="ru-RU" sz="800" dirty="0" err="1">
                <a:latin typeface="Arial" charset="0"/>
              </a:rPr>
              <a:t>Полилаб</a:t>
            </a:r>
            <a:endParaRPr lang="ru-RU" sz="800" dirty="0"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Формирование рекомендаций по изменениям переработки и характеристикам готовых изделий 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Внедрение у </a:t>
            </a:r>
            <a:r>
              <a:rPr lang="ru-RU" sz="800" dirty="0" smtClean="0">
                <a:latin typeface="Arial" charset="0"/>
              </a:rPr>
              <a:t>клиента</a:t>
            </a:r>
            <a:endParaRPr lang="ru-RU" sz="800" dirty="0"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95839" y="1237352"/>
            <a:ext cx="1367880" cy="3016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2800" b="1" dirty="0" smtClean="0">
                <a:solidFill>
                  <a:schemeClr val="accent1"/>
                </a:solidFill>
              </a:rPr>
              <a:t>6</a:t>
            </a:r>
            <a:r>
              <a:rPr lang="ru-RU" sz="800" b="1" dirty="0" smtClean="0">
                <a:solidFill>
                  <a:schemeClr val="accent1"/>
                </a:solidFill>
              </a:rPr>
              <a:t>….</a:t>
            </a:r>
            <a:r>
              <a:rPr lang="ru-RU" sz="2800" b="1" dirty="0" smtClean="0">
                <a:solidFill>
                  <a:schemeClr val="accent1"/>
                </a:solidFill>
              </a:rPr>
              <a:t>8</a:t>
            </a:r>
            <a:r>
              <a:rPr lang="ru-RU" sz="1200" b="1" dirty="0" smtClean="0">
                <a:solidFill>
                  <a:schemeClr val="accent1"/>
                </a:solidFill>
              </a:rPr>
              <a:t> мес.</a:t>
            </a:r>
            <a:endParaRPr lang="ru-RU" sz="1200" b="1" dirty="0">
              <a:solidFill>
                <a:schemeClr val="accent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81648" y="1121187"/>
            <a:ext cx="1615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>
                <a:solidFill>
                  <a:schemeClr val="accent6"/>
                </a:solidFill>
              </a:rPr>
              <a:t>Цикл омологации </a:t>
            </a:r>
            <a:r>
              <a:rPr lang="ru-RU" sz="1200" b="1" dirty="0" smtClean="0">
                <a:solidFill>
                  <a:schemeClr val="accent6"/>
                </a:solidFill>
              </a:rPr>
              <a:t/>
            </a:r>
            <a:br>
              <a:rPr lang="ru-RU" sz="1200" b="1" dirty="0" smtClean="0">
                <a:solidFill>
                  <a:schemeClr val="accent6"/>
                </a:solidFill>
              </a:rPr>
            </a:br>
            <a:r>
              <a:rPr lang="ru-RU" sz="1200" b="1" dirty="0" smtClean="0">
                <a:solidFill>
                  <a:schemeClr val="accent6"/>
                </a:solidFill>
              </a:rPr>
              <a:t>в </a:t>
            </a:r>
            <a:r>
              <a:rPr lang="ru-RU" sz="1200" b="1" dirty="0">
                <a:solidFill>
                  <a:schemeClr val="accent6"/>
                </a:solidFill>
              </a:rPr>
              <a:t>новой реальности</a:t>
            </a:r>
            <a:endParaRPr lang="ru-RU" sz="1200" b="1" dirty="0" smtClean="0">
              <a:solidFill>
                <a:schemeClr val="accent6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132292" y="2388791"/>
            <a:ext cx="930942" cy="576293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108000" rIns="72000" bIns="3600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2800" b="1" dirty="0" smtClean="0">
                <a:solidFill>
                  <a:schemeClr val="bg1"/>
                </a:solidFill>
              </a:rPr>
              <a:t>2</a:t>
            </a:r>
            <a:r>
              <a:rPr lang="ru-RU" sz="800" b="1" dirty="0" smtClean="0">
                <a:solidFill>
                  <a:schemeClr val="bg1"/>
                </a:solidFill>
              </a:rPr>
              <a:t> … </a:t>
            </a:r>
            <a:r>
              <a:rPr lang="ru-RU" sz="2800" b="1" dirty="0" smtClean="0">
                <a:solidFill>
                  <a:schemeClr val="bg1"/>
                </a:solidFill>
              </a:rPr>
              <a:t>4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br>
              <a:rPr lang="ru-RU" sz="1200" b="1" dirty="0" smtClean="0">
                <a:solidFill>
                  <a:schemeClr val="bg1"/>
                </a:solidFill>
              </a:rPr>
            </a:br>
            <a:r>
              <a:rPr lang="ru-RU" sz="1200" b="1" dirty="0" smtClean="0">
                <a:solidFill>
                  <a:schemeClr val="bg1"/>
                </a:solidFill>
              </a:rPr>
              <a:t>недели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1584" y="3410495"/>
            <a:ext cx="82994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r"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Ключевые изменения</a:t>
            </a:r>
          </a:p>
        </p:txBody>
      </p:sp>
      <p:sp>
        <p:nvSpPr>
          <p:cNvPr id="24" name="Прямоугольник 23"/>
          <p:cNvSpPr>
            <a:spLocks/>
          </p:cNvSpPr>
          <p:nvPr/>
        </p:nvSpPr>
        <p:spPr bwMode="auto">
          <a:xfrm>
            <a:off x="1556861" y="3758127"/>
            <a:ext cx="1117599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Нет возможности корректировки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продукта по итогам обратной связи от </a:t>
            </a: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клиентов</a:t>
            </a:r>
            <a:endParaRPr lang="ru-RU" sz="1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5" name="Прямоугольник 24"/>
          <p:cNvSpPr>
            <a:spLocks/>
          </p:cNvSpPr>
          <p:nvPr/>
        </p:nvSpPr>
        <p:spPr bwMode="auto">
          <a:xfrm>
            <a:off x="3150525" y="3758127"/>
            <a:ext cx="1343280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Существенное сокращение времени </a:t>
            </a:r>
            <a:r>
              <a:rPr lang="ru-RU" sz="1000" dirty="0" err="1">
                <a:solidFill>
                  <a:schemeClr val="bg1"/>
                </a:solidFill>
                <a:latin typeface="Arial" charset="0"/>
              </a:rPr>
              <a:t>омологации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 с нескольких месяцев до 2-4 недель</a:t>
            </a:r>
          </a:p>
        </p:txBody>
      </p:sp>
      <p:sp>
        <p:nvSpPr>
          <p:cNvPr id="26" name="Прямоугольник 25"/>
          <p:cNvSpPr>
            <a:spLocks/>
          </p:cNvSpPr>
          <p:nvPr/>
        </p:nvSpPr>
        <p:spPr bwMode="auto">
          <a:xfrm>
            <a:off x="4823768" y="3758127"/>
            <a:ext cx="1782499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Изменение характеристик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вследствие изменения полимера и применения альтернативных </a:t>
            </a: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ru-RU" sz="1000" dirty="0" smtClean="0">
                <a:solidFill>
                  <a:schemeClr val="bg1"/>
                </a:solidFill>
                <a:latin typeface="Arial" charset="0"/>
              </a:rPr>
            </a:b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добавок</a:t>
            </a:r>
            <a:endParaRPr lang="ru-RU" sz="1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7" name="Прямоугольник 26"/>
          <p:cNvSpPr>
            <a:spLocks/>
          </p:cNvSpPr>
          <p:nvPr/>
        </p:nvSpPr>
        <p:spPr bwMode="auto">
          <a:xfrm>
            <a:off x="6764156" y="3758127"/>
            <a:ext cx="2092960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2"/>
                </a:solidFill>
                <a:latin typeface="Arial" charset="0"/>
              </a:rPr>
              <a:t>Необходима готовность со стороны потребителей </a:t>
            </a:r>
            <a:r>
              <a:rPr lang="ru-RU" sz="1000" dirty="0" smtClean="0">
                <a:solidFill>
                  <a:schemeClr val="bg2"/>
                </a:solidFill>
                <a:latin typeface="Arial" charset="0"/>
              </a:rPr>
              <a:t/>
            </a:r>
            <a:br>
              <a:rPr lang="ru-RU" sz="1000" dirty="0" smtClean="0">
                <a:solidFill>
                  <a:schemeClr val="bg2"/>
                </a:solidFill>
                <a:latin typeface="Arial" charset="0"/>
              </a:rPr>
            </a:b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к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открытому диалогу и изменению параметров переработки и характеристик готовых изделий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703470" y="1126284"/>
            <a:ext cx="1814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</a:rPr>
              <a:t>Омологация</a:t>
            </a:r>
            <a:r>
              <a:rPr lang="ru-RU" sz="1200" b="1" dirty="0">
                <a:solidFill>
                  <a:schemeClr val="tx2"/>
                </a:solidFill>
              </a:rPr>
              <a:t> продукта</a:t>
            </a:r>
          </a:p>
        </p:txBody>
      </p:sp>
      <p:sp>
        <p:nvSpPr>
          <p:cNvPr id="29" name="Дуга 28"/>
          <p:cNvSpPr>
            <a:spLocks noChangeAspect="1"/>
          </p:cNvSpPr>
          <p:nvPr/>
        </p:nvSpPr>
        <p:spPr bwMode="auto">
          <a:xfrm>
            <a:off x="3446108" y="1472310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 стрелкой 31"/>
          <p:cNvCxnSpPr>
            <a:endCxn id="29" idx="2"/>
          </p:cNvCxnSpPr>
          <p:nvPr/>
        </p:nvCxnSpPr>
        <p:spPr bwMode="auto">
          <a:xfrm flipH="1" flipV="1">
            <a:off x="3584186" y="1472890"/>
            <a:ext cx="864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 стрелкой 33"/>
          <p:cNvCxnSpPr/>
          <p:nvPr/>
        </p:nvCxnSpPr>
        <p:spPr bwMode="auto">
          <a:xfrm>
            <a:off x="3446108" y="1598309"/>
            <a:ext cx="0" cy="16560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Овал 29"/>
          <p:cNvSpPr>
            <a:spLocks noChangeAspect="1"/>
          </p:cNvSpPr>
          <p:nvPr/>
        </p:nvSpPr>
        <p:spPr bwMode="auto">
          <a:xfrm>
            <a:off x="4445999" y="1351479"/>
            <a:ext cx="252000" cy="252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Овал 36"/>
          <p:cNvSpPr>
            <a:spLocks noChangeAspect="1"/>
          </p:cNvSpPr>
          <p:nvPr/>
        </p:nvSpPr>
        <p:spPr bwMode="auto">
          <a:xfrm>
            <a:off x="3401108" y="1647003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Овал 37"/>
          <p:cNvSpPr>
            <a:spLocks noChangeAspect="1"/>
          </p:cNvSpPr>
          <p:nvPr/>
        </p:nvSpPr>
        <p:spPr bwMode="auto">
          <a:xfrm>
            <a:off x="3401108" y="1817570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Овал 38"/>
          <p:cNvSpPr>
            <a:spLocks noChangeAspect="1"/>
          </p:cNvSpPr>
          <p:nvPr/>
        </p:nvSpPr>
        <p:spPr bwMode="auto">
          <a:xfrm>
            <a:off x="3401108" y="1988137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Овал 39"/>
          <p:cNvSpPr>
            <a:spLocks noChangeAspect="1"/>
          </p:cNvSpPr>
          <p:nvPr/>
        </p:nvSpPr>
        <p:spPr bwMode="auto">
          <a:xfrm>
            <a:off x="3401108" y="2158704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Овал 40"/>
          <p:cNvSpPr>
            <a:spLocks noChangeAspect="1"/>
          </p:cNvSpPr>
          <p:nvPr/>
        </p:nvSpPr>
        <p:spPr bwMode="auto">
          <a:xfrm>
            <a:off x="3401108" y="232927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Овал 41"/>
          <p:cNvSpPr>
            <a:spLocks noChangeAspect="1"/>
          </p:cNvSpPr>
          <p:nvPr/>
        </p:nvSpPr>
        <p:spPr bwMode="auto">
          <a:xfrm>
            <a:off x="3401108" y="2499838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Овал 42"/>
          <p:cNvSpPr>
            <a:spLocks noChangeAspect="1"/>
          </p:cNvSpPr>
          <p:nvPr/>
        </p:nvSpPr>
        <p:spPr bwMode="auto">
          <a:xfrm>
            <a:off x="3401108" y="267040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Ромб 44"/>
          <p:cNvSpPr>
            <a:spLocks noChangeAspect="1"/>
          </p:cNvSpPr>
          <p:nvPr/>
        </p:nvSpPr>
        <p:spPr bwMode="auto">
          <a:xfrm>
            <a:off x="3392108" y="2840972"/>
            <a:ext cx="108000" cy="108000"/>
          </a:xfrm>
          <a:prstGeom prst="diamond">
            <a:avLst/>
          </a:prstGeom>
          <a:solidFill>
            <a:schemeClr val="accent6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Овал 45"/>
          <p:cNvSpPr>
            <a:spLocks noChangeAspect="1"/>
          </p:cNvSpPr>
          <p:nvPr/>
        </p:nvSpPr>
        <p:spPr bwMode="auto">
          <a:xfrm>
            <a:off x="3401108" y="302954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Дуга 47"/>
          <p:cNvSpPr>
            <a:spLocks noChangeAspect="1"/>
          </p:cNvSpPr>
          <p:nvPr/>
        </p:nvSpPr>
        <p:spPr bwMode="auto">
          <a:xfrm flipH="1">
            <a:off x="5429706" y="1472310"/>
            <a:ext cx="252000" cy="252000"/>
          </a:xfrm>
          <a:prstGeom prst="arc">
            <a:avLst>
              <a:gd name="adj1" fmla="val 10761392"/>
              <a:gd name="adj2" fmla="val 16530072"/>
            </a:avLst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9" name="Прямая со стрелкой 48"/>
          <p:cNvCxnSpPr/>
          <p:nvPr/>
        </p:nvCxnSpPr>
        <p:spPr bwMode="auto">
          <a:xfrm flipV="1">
            <a:off x="4681672" y="1472890"/>
            <a:ext cx="864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 стрелкой 49"/>
          <p:cNvCxnSpPr/>
          <p:nvPr/>
        </p:nvCxnSpPr>
        <p:spPr bwMode="auto">
          <a:xfrm>
            <a:off x="5681704" y="1598309"/>
            <a:ext cx="0" cy="7200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Дуга 55"/>
          <p:cNvSpPr>
            <a:spLocks noChangeAspect="1"/>
          </p:cNvSpPr>
          <p:nvPr/>
        </p:nvSpPr>
        <p:spPr bwMode="auto">
          <a:xfrm flipH="1">
            <a:off x="3384223" y="2018257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triangl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Дуга 56"/>
          <p:cNvSpPr>
            <a:spLocks noChangeAspect="1"/>
          </p:cNvSpPr>
          <p:nvPr/>
        </p:nvSpPr>
        <p:spPr bwMode="auto">
          <a:xfrm flipH="1" flipV="1">
            <a:off x="3384223" y="2641964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701420" y="1949352"/>
            <a:ext cx="806070" cy="951511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b="1" dirty="0" smtClean="0">
                <a:latin typeface="Arial" charset="0"/>
              </a:rPr>
              <a:t>Ключевой этап</a:t>
            </a:r>
          </a:p>
          <a:p>
            <a:pPr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Получение ОС </a:t>
            </a:r>
            <a:r>
              <a:rPr lang="ru-RU" sz="800" dirty="0">
                <a:latin typeface="Arial" charset="0"/>
              </a:rPr>
              <a:t>от клиента, корректировка характеристик продукта</a:t>
            </a:r>
          </a:p>
        </p:txBody>
      </p:sp>
      <p:cxnSp>
        <p:nvCxnSpPr>
          <p:cNvPr id="60" name="Прямая со стрелкой 59"/>
          <p:cNvCxnSpPr/>
          <p:nvPr/>
        </p:nvCxnSpPr>
        <p:spPr bwMode="auto">
          <a:xfrm flipV="1">
            <a:off x="3633749" y="2150805"/>
            <a:ext cx="0" cy="610611"/>
          </a:xfrm>
          <a:prstGeom prst="straightConnector1">
            <a:avLst/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64" name="Овал 63"/>
          <p:cNvSpPr>
            <a:spLocks noChangeAspect="1"/>
          </p:cNvSpPr>
          <p:nvPr/>
        </p:nvSpPr>
        <p:spPr bwMode="auto">
          <a:xfrm>
            <a:off x="3588749" y="237280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5726703" y="1689008"/>
            <a:ext cx="754945" cy="1402192"/>
            <a:chOff x="5429707" y="1689008"/>
            <a:chExt cx="1051941" cy="1402192"/>
          </a:xfrm>
        </p:grpSpPr>
        <p:cxnSp>
          <p:nvCxnSpPr>
            <p:cNvPr id="66" name="Прямая соединительная линия 65"/>
            <p:cNvCxnSpPr/>
            <p:nvPr/>
          </p:nvCxnSpPr>
          <p:spPr bwMode="auto">
            <a:xfrm>
              <a:off x="5429707" y="1689008"/>
              <a:ext cx="102012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Прямая соединительная линия 66"/>
            <p:cNvCxnSpPr/>
            <p:nvPr/>
          </p:nvCxnSpPr>
          <p:spPr bwMode="auto">
            <a:xfrm>
              <a:off x="5822814" y="1802628"/>
              <a:ext cx="627015" cy="2086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Прямая соединительная линия 68"/>
            <p:cNvCxnSpPr/>
            <p:nvPr/>
          </p:nvCxnSpPr>
          <p:spPr bwMode="auto">
            <a:xfrm>
              <a:off x="5822814" y="1913474"/>
              <a:ext cx="590926" cy="47558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Прямая соединительная линия 70"/>
            <p:cNvCxnSpPr/>
            <p:nvPr/>
          </p:nvCxnSpPr>
          <p:spPr bwMode="auto">
            <a:xfrm>
              <a:off x="5822814" y="2024833"/>
              <a:ext cx="627015" cy="588362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Прямая соединительная линия 75"/>
            <p:cNvCxnSpPr/>
            <p:nvPr/>
          </p:nvCxnSpPr>
          <p:spPr bwMode="auto">
            <a:xfrm>
              <a:off x="5822814" y="2143840"/>
              <a:ext cx="658834" cy="9473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Прямая соединительная линия 78"/>
            <p:cNvCxnSpPr/>
            <p:nvPr/>
          </p:nvCxnSpPr>
          <p:spPr bwMode="auto">
            <a:xfrm>
              <a:off x="5429707" y="1801369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Прямая соединительная линия 79"/>
            <p:cNvCxnSpPr/>
            <p:nvPr/>
          </p:nvCxnSpPr>
          <p:spPr bwMode="auto">
            <a:xfrm>
              <a:off x="5429707" y="1913730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Прямая соединительная линия 80"/>
            <p:cNvCxnSpPr/>
            <p:nvPr/>
          </p:nvCxnSpPr>
          <p:spPr bwMode="auto">
            <a:xfrm>
              <a:off x="5429707" y="2026091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Прямая соединительная линия 81"/>
            <p:cNvCxnSpPr/>
            <p:nvPr/>
          </p:nvCxnSpPr>
          <p:spPr bwMode="auto">
            <a:xfrm>
              <a:off x="5429707" y="2138450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1" name="Овал 50"/>
          <p:cNvSpPr>
            <a:spLocks noChangeAspect="1"/>
          </p:cNvSpPr>
          <p:nvPr/>
        </p:nvSpPr>
        <p:spPr bwMode="auto">
          <a:xfrm>
            <a:off x="5636704" y="1642669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Овал 51"/>
          <p:cNvSpPr>
            <a:spLocks noChangeAspect="1"/>
          </p:cNvSpPr>
          <p:nvPr/>
        </p:nvSpPr>
        <p:spPr bwMode="auto">
          <a:xfrm>
            <a:off x="5636704" y="175317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Овал 52"/>
          <p:cNvSpPr>
            <a:spLocks noChangeAspect="1"/>
          </p:cNvSpPr>
          <p:nvPr/>
        </p:nvSpPr>
        <p:spPr bwMode="auto">
          <a:xfrm>
            <a:off x="5636704" y="1866767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Овал 53"/>
          <p:cNvSpPr>
            <a:spLocks noChangeAspect="1"/>
          </p:cNvSpPr>
          <p:nvPr/>
        </p:nvSpPr>
        <p:spPr bwMode="auto">
          <a:xfrm>
            <a:off x="5636704" y="197820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Овал 54"/>
          <p:cNvSpPr>
            <a:spLocks noChangeAspect="1"/>
          </p:cNvSpPr>
          <p:nvPr/>
        </p:nvSpPr>
        <p:spPr bwMode="auto">
          <a:xfrm>
            <a:off x="5636704" y="208963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04" name="Группа 103"/>
          <p:cNvGrpSpPr>
            <a:grpSpLocks noChangeAspect="1"/>
          </p:cNvGrpSpPr>
          <p:nvPr/>
        </p:nvGrpSpPr>
        <p:grpSpPr>
          <a:xfrm>
            <a:off x="3155422" y="3382844"/>
            <a:ext cx="334981" cy="334981"/>
            <a:chOff x="3143549" y="3382844"/>
            <a:chExt cx="447089" cy="447089"/>
          </a:xfrm>
        </p:grpSpPr>
        <p:sp>
          <p:nvSpPr>
            <p:cNvPr id="98" name="Овал 97"/>
            <p:cNvSpPr/>
            <p:nvPr/>
          </p:nvSpPr>
          <p:spPr bwMode="auto">
            <a:xfrm>
              <a:off x="3143549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1" name="Рисунок 9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7656" y="3408388"/>
              <a:ext cx="396000" cy="396000"/>
            </a:xfrm>
            <a:prstGeom prst="rect">
              <a:avLst/>
            </a:prstGeom>
          </p:spPr>
        </p:pic>
      </p:grpSp>
      <p:grpSp>
        <p:nvGrpSpPr>
          <p:cNvPr id="103" name="Группа 102"/>
          <p:cNvGrpSpPr>
            <a:grpSpLocks noChangeAspect="1"/>
          </p:cNvGrpSpPr>
          <p:nvPr/>
        </p:nvGrpSpPr>
        <p:grpSpPr>
          <a:xfrm>
            <a:off x="4823769" y="3382844"/>
            <a:ext cx="334981" cy="334981"/>
            <a:chOff x="4869543" y="3382844"/>
            <a:chExt cx="447089" cy="447089"/>
          </a:xfrm>
        </p:grpSpPr>
        <p:sp>
          <p:nvSpPr>
            <p:cNvPr id="99" name="Овал 98"/>
            <p:cNvSpPr/>
            <p:nvPr/>
          </p:nvSpPr>
          <p:spPr bwMode="auto">
            <a:xfrm>
              <a:off x="4869543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4" name="Рисунок 9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3055" y="3390388"/>
              <a:ext cx="432000" cy="432000"/>
            </a:xfrm>
            <a:prstGeom prst="rect">
              <a:avLst/>
            </a:prstGeom>
          </p:spPr>
        </p:pic>
      </p:grpSp>
      <p:grpSp>
        <p:nvGrpSpPr>
          <p:cNvPr id="105" name="Группа 104"/>
          <p:cNvGrpSpPr>
            <a:grpSpLocks noChangeAspect="1"/>
          </p:cNvGrpSpPr>
          <p:nvPr/>
        </p:nvGrpSpPr>
        <p:grpSpPr>
          <a:xfrm>
            <a:off x="1556861" y="3382844"/>
            <a:ext cx="340315" cy="334981"/>
            <a:chOff x="1449377" y="3382844"/>
            <a:chExt cx="454208" cy="447089"/>
          </a:xfrm>
        </p:grpSpPr>
        <p:sp>
          <p:nvSpPr>
            <p:cNvPr id="97" name="Овал 96"/>
            <p:cNvSpPr/>
            <p:nvPr/>
          </p:nvSpPr>
          <p:spPr bwMode="auto">
            <a:xfrm>
              <a:off x="1449377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5" name="Рисунок 9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1585" y="3390388"/>
              <a:ext cx="432000" cy="432000"/>
            </a:xfrm>
            <a:prstGeom prst="rect">
              <a:avLst/>
            </a:prstGeom>
          </p:spPr>
        </p:pic>
      </p:grpSp>
      <p:grpSp>
        <p:nvGrpSpPr>
          <p:cNvPr id="102" name="Группа 101"/>
          <p:cNvGrpSpPr>
            <a:grpSpLocks noChangeAspect="1"/>
          </p:cNvGrpSpPr>
          <p:nvPr/>
        </p:nvGrpSpPr>
        <p:grpSpPr>
          <a:xfrm>
            <a:off x="6764156" y="3382844"/>
            <a:ext cx="334981" cy="334981"/>
            <a:chOff x="6849871" y="3382844"/>
            <a:chExt cx="447089" cy="447089"/>
          </a:xfrm>
        </p:grpSpPr>
        <p:sp>
          <p:nvSpPr>
            <p:cNvPr id="100" name="Овал 99"/>
            <p:cNvSpPr/>
            <p:nvPr/>
          </p:nvSpPr>
          <p:spPr bwMode="auto">
            <a:xfrm>
              <a:off x="6849871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7416" y="3390388"/>
              <a:ext cx="432000" cy="432000"/>
            </a:xfrm>
            <a:prstGeom prst="rect">
              <a:avLst/>
            </a:prstGeom>
          </p:spPr>
        </p:pic>
      </p:grpSp>
      <p:sp>
        <p:nvSpPr>
          <p:cNvPr id="68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645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312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54998"/>
            <a:ext cx="8426451" cy="496375"/>
          </a:xfrm>
        </p:spPr>
        <p:txBody>
          <a:bodyPr vert="horz"/>
          <a:lstStyle/>
          <a:p>
            <a:r>
              <a:rPr lang="ru-RU" dirty="0" smtClean="0"/>
              <a:t>Текущие решения полиэтилена в гибкой упаковк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4673185"/>
              </p:ext>
            </p:extLst>
          </p:nvPr>
        </p:nvGraphicFramePr>
        <p:xfrm>
          <a:off x="238170" y="327691"/>
          <a:ext cx="8686722" cy="45471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03355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1108037">
                  <a:extLst>
                    <a:ext uri="{9D8B030D-6E8A-4147-A177-3AD203B41FA5}">
                      <a16:colId xmlns:a16="http://schemas.microsoft.com/office/drawing/2014/main" val="2448196753"/>
                    </a:ext>
                  </a:extLst>
                </a:gridCol>
                <a:gridCol w="1204857">
                  <a:extLst>
                    <a:ext uri="{9D8B030D-6E8A-4147-A177-3AD203B41FA5}">
                      <a16:colId xmlns:a16="http://schemas.microsoft.com/office/drawing/2014/main" val="880345812"/>
                    </a:ext>
                  </a:extLst>
                </a:gridCol>
                <a:gridCol w="5170473">
                  <a:extLst>
                    <a:ext uri="{9D8B030D-6E8A-4147-A177-3AD203B41FA5}">
                      <a16:colId xmlns:a16="http://schemas.microsoft.com/office/drawing/2014/main" val="1809267296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 г/10 мин 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лотность, г/см</a:t>
                      </a:r>
                      <a:r>
                        <a:rPr lang="ru-RU" sz="100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003D4C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Линейный</a:t>
                      </a:r>
                      <a:r>
                        <a:rPr lang="ru-RU" sz="1000" b="1" i="0" u="none" strike="noStrike" kern="1200" baseline="0" dirty="0" smtClean="0">
                          <a:solidFill>
                            <a:srgbClr val="003D4C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олиэтилен низкой плотности (ЛПЭНП)</a:t>
                      </a:r>
                      <a:endParaRPr lang="pt-BR" sz="1000" b="1" i="0" u="none" strike="noStrike" kern="1200" dirty="0" smtClean="0">
                        <a:solidFill>
                          <a:srgbClr val="003D4C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109765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09200 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0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лёнки для пищевой и непищевой упаковки, пленки для ламинации, индустриальные плёнки, хозяйственные сумки и мешки для мусор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7266073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5118 NM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140194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20200 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0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0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Упаковочные плёнки общего назначения, плёнки для ламинации, сельскохозяйственные плёнки, пакеты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70114554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20211 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0,921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344571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5118</a:t>
                      </a: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QM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,0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0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оно- и многослойные плоскощелевые плёнки, упаковочные плёнки общего назначения, стретч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- плёнки</a:t>
                      </a:r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6866272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30200 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571785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2230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2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0576571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иэтилен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низкой плотности (ПЭНП)</a:t>
                      </a:r>
                      <a:endParaRPr lang="pt-BR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4324991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530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/ 15313</a:t>
                      </a:r>
                      <a:endParaRPr lang="pt-BR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1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рмоусадочные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лёнки, плёнки для пищевой и непищевой упаковки</a:t>
                      </a:r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9718265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03210</a:t>
                      </a: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FE</a:t>
                      </a:r>
                      <a:endParaRPr lang="pt-BR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32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240638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E15803-020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19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лёнки для пищевой и непищевой упаковк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5498899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20220 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1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638364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08220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0,921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ногослойные плёнки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од ламинацию, плёнки общего назначения</a:t>
                      </a:r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3001219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40200 FA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921</a:t>
                      </a:r>
                    </a:p>
                    <a:p>
                      <a:endParaRPr lang="en-US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улонная теплоизоляция, трубные оболочки, компенсационные маты, уплотнительные жгуты, подложки, защитная упаковк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947262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40250 FE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0,925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ысокопрозрачные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моно- и многослойные</a:t>
                      </a:r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аст пленки для контакта с пищевыми</a:t>
                      </a:r>
                    </a:p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ами (включая герметичную</a:t>
                      </a:r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упаковку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54266735"/>
                  </a:ext>
                </a:extLst>
              </a:tr>
              <a:tr h="25200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иэтилен высокой плотности (ПЭВП)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7996456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10500 FE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1,6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0,950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Моно- и многослойные плёнки, тонкие высокопрочные плёнки, пакеты, мешки для мусора, индустриальная упаковк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108175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93-285Д 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55</a:t>
                      </a:r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**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0,946</a:t>
                      </a:r>
                      <a:endParaRPr lang="ru-RU" sz="1000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1929677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80520 FE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*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0,9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/>
                        <a:t>Термоусадочные</a:t>
                      </a:r>
                      <a:r>
                        <a:rPr lang="ru-RU" sz="1000" dirty="0" smtClean="0"/>
                        <a:t> плёнки, плёнки для </a:t>
                      </a:r>
                      <a:r>
                        <a:rPr lang="ru-RU" sz="1000" dirty="0" err="1" smtClean="0"/>
                        <a:t>ламинации</a:t>
                      </a:r>
                      <a:r>
                        <a:rPr lang="ru-RU" sz="1000" dirty="0" smtClean="0"/>
                        <a:t>, мешки для продуктов, пакеты, высокопрочная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упаковк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6627066"/>
                  </a:ext>
                </a:extLst>
              </a:tr>
            </a:tbl>
          </a:graphicData>
        </a:graphic>
      </p:graphicFrame>
      <p:sp>
        <p:nvSpPr>
          <p:cNvPr id="7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721956" y="4792887"/>
            <a:ext cx="349513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800" dirty="0" smtClean="0">
                <a:solidFill>
                  <a:srgbClr val="003D4C"/>
                </a:solidFill>
              </a:rPr>
              <a:t>* При нагрузке 21,6 кг; ** При нагрузке 5 кг</a:t>
            </a:r>
            <a:endParaRPr lang="ru-RU" sz="800" dirty="0">
              <a:solidFill>
                <a:srgbClr val="003D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193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2298" r="3532" b="2516"/>
          <a:stretch/>
        </p:blipFill>
        <p:spPr>
          <a:xfrm>
            <a:off x="2329533" y="3311936"/>
            <a:ext cx="1299079" cy="1353148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1" name="Слайд think-cell" r:id="rId5" imgW="278" imgH="278" progId="TCLayout.ActiveDocument.1">
                  <p:embed/>
                </p:oleObj>
              </mc:Choice>
              <mc:Fallback>
                <p:oleObj name="Слайд think-cell" r:id="rId5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132818"/>
            <a:ext cx="8426451" cy="496375"/>
          </a:xfrm>
        </p:spPr>
        <p:txBody>
          <a:bodyPr vert="horz"/>
          <a:lstStyle/>
          <a:p>
            <a:r>
              <a:rPr lang="ru-RU" dirty="0"/>
              <a:t>Текущие решения </a:t>
            </a:r>
            <a:r>
              <a:rPr lang="ru-RU" dirty="0" smtClean="0"/>
              <a:t>полипропилена </a:t>
            </a:r>
            <a:r>
              <a:rPr lang="ru-RU" dirty="0"/>
              <a:t>в гибкой упаковк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85781"/>
              </p:ext>
            </p:extLst>
          </p:nvPr>
        </p:nvGraphicFramePr>
        <p:xfrm>
          <a:off x="179386" y="566131"/>
          <a:ext cx="8605838" cy="25869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00079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1213353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5492406">
                  <a:extLst>
                    <a:ext uri="{9D8B030D-6E8A-4147-A177-3AD203B41FA5}">
                      <a16:colId xmlns:a16="http://schemas.microsoft.com/office/drawing/2014/main" val="1437344175"/>
                    </a:ext>
                  </a:extLst>
                </a:gridCol>
              </a:tblGrid>
              <a:tr h="4146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222888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омополипропилен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pt-BR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51348606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 Н031 </a:t>
                      </a: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F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Двухосноориентированные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лёнки (включая металлизированные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01524594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 Н03</a:t>
                      </a: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F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4668703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80 CF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ориентированные плоскощелевые плёнк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4968803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8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CF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698387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8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lang="pt-BR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F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</a:t>
                      </a: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ориентированные плоскощелевые плёнки под металлизацию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58003669"/>
                  </a:ext>
                </a:extLst>
              </a:tr>
              <a:tr h="2228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1316 M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ориентированные плоскощелевые плёнк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07411010"/>
                  </a:ext>
                </a:extLst>
              </a:tr>
              <a:tr h="222888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ндом-сополимер</a:t>
                      </a:r>
                      <a:endParaRPr lang="pt-BR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82955674"/>
                  </a:ext>
                </a:extLst>
              </a:tr>
              <a:tr h="38921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4215 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</a:t>
                      </a:r>
                      <a:endParaRPr lang="pt-BR" sz="10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ориентированные плоскощелевые плёнки (</a:t>
                      </a:r>
                      <a:r>
                        <a:rPr lang="ru-RU" sz="10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рмосвариваемый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лой)</a:t>
                      </a:r>
                      <a:endParaRPr lang="ru-RU" sz="10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9668127"/>
                  </a:ext>
                </a:extLst>
              </a:tr>
            </a:tbl>
          </a:graphicData>
        </a:graphic>
      </p:graphicFrame>
      <p:sp>
        <p:nvSpPr>
          <p:cNvPr id="7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  <p:pic>
        <p:nvPicPr>
          <p:cNvPr id="911365" name="Picture 5" descr="http://sibur.photas.ru/img/46/c405d90d_600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21" t="2979" r="1955"/>
          <a:stretch/>
        </p:blipFill>
        <p:spPr bwMode="auto">
          <a:xfrm>
            <a:off x="1011536" y="3314696"/>
            <a:ext cx="1299079" cy="1350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1367" name="Picture 7" descr="http://sibur.photas.ru/img/41/622dfab0_600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73" r="19437" b="3410"/>
          <a:stretch/>
        </p:blipFill>
        <p:spPr bwMode="auto">
          <a:xfrm>
            <a:off x="3643030" y="3309252"/>
            <a:ext cx="1307342" cy="1355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r="46"/>
          <a:stretch>
            <a:fillRect/>
          </a:stretch>
        </p:blipFill>
        <p:spPr>
          <a:xfrm>
            <a:off x="4969289" y="3309252"/>
            <a:ext cx="1355831" cy="1355832"/>
          </a:xfrm>
          <a:prstGeom prst="rect">
            <a:avLst/>
          </a:prstGeom>
        </p:spPr>
      </p:pic>
      <p:pic>
        <p:nvPicPr>
          <p:cNvPr id="911375" name="Picture 15" descr="http://sibur.photas.ru/img/92/3395d694_600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6" r="33930"/>
          <a:stretch/>
        </p:blipFill>
        <p:spPr bwMode="auto">
          <a:xfrm>
            <a:off x="6337731" y="3309252"/>
            <a:ext cx="1379364" cy="1355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1506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95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9002" y="97399"/>
            <a:ext cx="7652795" cy="307777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/>
              <a:t>Перспективные продуктовые решения </a:t>
            </a:r>
            <a:r>
              <a:rPr lang="ru-RU" dirty="0" smtClean="0"/>
              <a:t>ПЭ и ПП </a:t>
            </a:r>
            <a:endParaRPr lang="ru-RU" dirty="0"/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037936"/>
              </p:ext>
            </p:extLst>
          </p:nvPr>
        </p:nvGraphicFramePr>
        <p:xfrm>
          <a:off x="69002" y="664580"/>
          <a:ext cx="9010146" cy="33043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2910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695440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925776">
                  <a:extLst>
                    <a:ext uri="{9D8B030D-6E8A-4147-A177-3AD203B41FA5}">
                      <a16:colId xmlns:a16="http://schemas.microsoft.com/office/drawing/2014/main" val="2360812147"/>
                    </a:ext>
                  </a:extLst>
                </a:gridCol>
                <a:gridCol w="3466841">
                  <a:extLst>
                    <a:ext uri="{9D8B030D-6E8A-4147-A177-3AD203B41FA5}">
                      <a16:colId xmlns:a16="http://schemas.microsoft.com/office/drawing/2014/main" val="4196203291"/>
                    </a:ext>
                  </a:extLst>
                </a:gridCol>
                <a:gridCol w="1532072">
                  <a:extLst>
                    <a:ext uri="{9D8B030D-6E8A-4147-A177-3AD203B41FA5}">
                      <a16:colId xmlns:a16="http://schemas.microsoft.com/office/drawing/2014/main" val="2390783038"/>
                    </a:ext>
                  </a:extLst>
                </a:gridCol>
                <a:gridCol w="1357107">
                  <a:extLst>
                    <a:ext uri="{9D8B030D-6E8A-4147-A177-3AD203B41FA5}">
                      <a16:colId xmlns:a16="http://schemas.microsoft.com/office/drawing/2014/main" val="1658635604"/>
                    </a:ext>
                  </a:extLst>
                </a:gridCol>
              </a:tblGrid>
              <a:tr h="369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лотность, г/см</a:t>
                      </a:r>
                      <a:r>
                        <a:rPr lang="ru-RU" sz="1050" b="1" i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арактеристика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родукта</a:t>
                      </a:r>
                      <a:endParaRPr lang="ru-RU" sz="1050" b="1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05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29899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иэтилен</a:t>
                      </a:r>
                      <a:endParaRPr 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20863757"/>
                  </a:ext>
                </a:extLst>
              </a:tr>
              <a:tr h="5927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40251 FE</a:t>
                      </a:r>
                      <a:endParaRPr 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7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23</a:t>
                      </a:r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7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пециальная марка ПЭНП для производства каст пленок. </a:t>
                      </a:r>
                    </a:p>
                    <a:p>
                      <a:pPr algn="l"/>
                      <a:r>
                        <a:rPr lang="ru-RU" sz="7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 характеризуется сбалансированным сочетанием физико-механических и оптических свойств, обеспечивает превосходную технологичность переработки и высокую производительность экструзионных линий.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Достижение свойств готовых изделий, сопоставимых с использованием импортных аналогов в рецептуре пленки </a:t>
                      </a:r>
                      <a:endParaRPr lang="ru-RU" sz="7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latin typeface="+mn-lt"/>
                          <a:cs typeface="Arial" panose="020B0604020202020204" pitchFamily="34" charset="0"/>
                        </a:rPr>
                        <a:t>Несоответствие ожиданиям свойств марки при первом выпуске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60121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02310FE</a:t>
                      </a:r>
                      <a:endParaRPr lang="ru-RU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2-0,3</a:t>
                      </a:r>
                      <a:endParaRPr lang="en-US" sz="70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32</a:t>
                      </a:r>
                      <a:endParaRPr lang="en-US" sz="70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700" dirty="0" smtClean="0">
                          <a:latin typeface="+mn-lt"/>
                          <a:cs typeface="Arial" panose="020B0604020202020204" pitchFamily="34" charset="0"/>
                        </a:rPr>
                        <a:t>Бимодальная</a:t>
                      </a:r>
                      <a:r>
                        <a:rPr lang="ru-RU" sz="700" baseline="0" dirty="0" smtClean="0">
                          <a:latin typeface="+mn-lt"/>
                          <a:cs typeface="Arial" panose="020B0604020202020204" pitchFamily="34" charset="0"/>
                        </a:rPr>
                        <a:t> марка линейного полиэтилена средней плотности</a:t>
                      </a:r>
                      <a:r>
                        <a:rPr lang="en-US" sz="700" baseline="0" dirty="0" smtClean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700" baseline="0" dirty="0" smtClean="0">
                          <a:latin typeface="+mn-lt"/>
                          <a:cs typeface="Arial" panose="020B0604020202020204" pitchFamily="34" charset="0"/>
                        </a:rPr>
                        <a:t>для производства высококачественных термоусадочных и других упаковочных пленок.</a:t>
                      </a:r>
                    </a:p>
                    <a:p>
                      <a:pPr algn="l"/>
                      <a:r>
                        <a:rPr lang="ru-RU" sz="700" baseline="0" dirty="0" smtClean="0">
                          <a:latin typeface="+mn-lt"/>
                          <a:cs typeface="Arial" panose="020B0604020202020204" pitchFamily="34" charset="0"/>
                        </a:rPr>
                        <a:t>Обеспечивает получение высоких прочностных и оптических свойств готовых изделий.  </a:t>
                      </a:r>
                      <a:endParaRPr lang="ru-RU" sz="7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7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Достижение свойств готовых изделий, сопоставимых с использованием импортных аналогов в рецептуре пленки </a:t>
                      </a:r>
                      <a:endParaRPr lang="ru-RU" sz="7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300137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ипропилен</a:t>
                      </a:r>
                      <a:endParaRPr lang="ru-RU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779021" rtl="0" eaLnBrk="1" fontAlgn="ctr" latinLnBrk="0" hangingPunct="1"/>
                      <a:endParaRPr lang="ru-RU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779021" rtl="0" eaLnBrk="1" fontAlgn="ctr" latinLnBrk="0" hangingPunct="1"/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785775"/>
                  </a:ext>
                </a:extLst>
              </a:tr>
              <a:tr h="114126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ru-RU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</a:t>
                      </a:r>
                      <a:r>
                        <a:rPr lang="en-US" sz="1050" b="1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35 BF</a:t>
                      </a:r>
                      <a:endParaRPr lang="en-US" sz="1050" b="1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05</a:t>
                      </a:r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одифицированный гомополимер пропилена с широким молекулярно-массовым распределением для производства БОПП пленок, в т.ч. металлизированных. Продукт характеризуется средней текучестью и специальным составом рецептуры стабилизации, не содержащей </a:t>
                      </a:r>
                      <a:r>
                        <a:rPr lang="ru-RU" sz="7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теаратов</a:t>
                      </a:r>
                      <a:r>
                        <a:rPr lang="ru-RU" sz="7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металлов. Продукт не содержит фталатов, что отвечает современным требованиям конечных потребителей.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700" dirty="0" smtClean="0"/>
                        <a:t>Высокая способность к ориентации в обоих направлениях (</a:t>
                      </a:r>
                      <a:r>
                        <a:rPr lang="en-US" sz="700" dirty="0" smtClean="0"/>
                        <a:t>MD, TD)</a:t>
                      </a:r>
                      <a:r>
                        <a:rPr lang="ru-RU" sz="700" dirty="0" smtClean="0"/>
                        <a:t>,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200" dirty="0" smtClean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700" dirty="0" smtClean="0"/>
                        <a:t>Повышенная стабильность процесса при переработке на повышенных скоростях </a:t>
                      </a:r>
                      <a:r>
                        <a:rPr lang="en-US" sz="700" dirty="0" smtClean="0"/>
                        <a:t>(</a:t>
                      </a:r>
                      <a:r>
                        <a:rPr lang="ru-RU" sz="700" dirty="0" smtClean="0"/>
                        <a:t>более</a:t>
                      </a:r>
                      <a:r>
                        <a:rPr lang="en-US" sz="700" dirty="0" smtClean="0"/>
                        <a:t> 550 </a:t>
                      </a:r>
                      <a:r>
                        <a:rPr lang="ru-RU" sz="700" dirty="0" smtClean="0"/>
                        <a:t>м</a:t>
                      </a:r>
                      <a:r>
                        <a:rPr lang="en-US" sz="700" dirty="0" smtClean="0"/>
                        <a:t>/</a:t>
                      </a:r>
                      <a:r>
                        <a:rPr lang="ru-RU" sz="700" dirty="0" smtClean="0"/>
                        <a:t>мин</a:t>
                      </a:r>
                      <a:r>
                        <a:rPr lang="en-US" sz="700" dirty="0" smtClean="0"/>
                        <a:t>)</a:t>
                      </a:r>
                      <a:endParaRPr lang="ru-RU" sz="700" dirty="0" smtClean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200" dirty="0" smtClean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700" dirty="0" smtClean="0"/>
                        <a:t>Низкая разнотолщинность пленки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latin typeface="+mn-lt"/>
                          <a:cs typeface="Arial" panose="020B0604020202020204" pitchFamily="34" charset="0"/>
                        </a:rPr>
                        <a:t>Возможно</a:t>
                      </a:r>
                      <a:r>
                        <a:rPr lang="ru-RU" sz="700" baseline="0" dirty="0" smtClean="0">
                          <a:latin typeface="+mn-lt"/>
                          <a:cs typeface="Arial" panose="020B0604020202020204" pitchFamily="34" charset="0"/>
                        </a:rPr>
                        <a:t> потребуется подбор режимов для достижения необходимого уровня качества</a:t>
                      </a:r>
                      <a:endParaRPr lang="ru-RU" sz="7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</a:tbl>
          </a:graphicData>
        </a:graphic>
      </p:graphicFrame>
      <p:sp>
        <p:nvSpPr>
          <p:cNvPr id="9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423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лючевые приорите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4"/>
          </p:nvPr>
        </p:nvSpPr>
        <p:spPr>
          <a:xfrm>
            <a:off x="354010" y="1724558"/>
            <a:ext cx="3588069" cy="847192"/>
          </a:xfrm>
        </p:spPr>
        <p:txBody>
          <a:bodyPr/>
          <a:lstStyle/>
          <a:p>
            <a:r>
              <a:rPr lang="ru-RU" dirty="0"/>
              <a:t>Стабильное </a:t>
            </a:r>
            <a:r>
              <a:rPr lang="ru-RU" dirty="0" smtClean="0"/>
              <a:t>производ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марочного ассортимента</a:t>
            </a:r>
          </a:p>
          <a:p>
            <a:pPr lvl="1"/>
            <a:r>
              <a:rPr lang="ru-RU" b="0" dirty="0" smtClean="0"/>
              <a:t>Достаточные объёмы </a:t>
            </a:r>
            <a:r>
              <a:rPr lang="ru-RU" b="0" dirty="0"/>
              <a:t>производства</a:t>
            </a:r>
          </a:p>
          <a:p>
            <a:endParaRPr lang="ru-RU" b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45"/>
          </p:nvPr>
        </p:nvSpPr>
        <p:spPr>
          <a:xfrm>
            <a:off x="354010" y="3401769"/>
            <a:ext cx="3345904" cy="877801"/>
          </a:xfrm>
        </p:spPr>
        <p:txBody>
          <a:bodyPr/>
          <a:lstStyle/>
          <a:p>
            <a:r>
              <a:rPr lang="ru-RU" dirty="0" smtClean="0"/>
              <a:t>Каче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качества базовых марок</a:t>
            </a:r>
          </a:p>
          <a:p>
            <a:pPr lvl="1"/>
            <a:r>
              <a:rPr lang="ru-RU" b="0" dirty="0"/>
              <a:t>Стабильное качество специальных </a:t>
            </a:r>
            <a:r>
              <a:rPr lang="ru-RU" b="0" dirty="0" smtClean="0"/>
              <a:t>марок</a:t>
            </a:r>
            <a:endParaRPr lang="ru-RU" b="0" dirty="0"/>
          </a:p>
          <a:p>
            <a:pPr lvl="1"/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6"/>
          </p:nvPr>
        </p:nvSpPr>
        <p:spPr>
          <a:xfrm>
            <a:off x="4572000" y="1724556"/>
            <a:ext cx="3672699" cy="847193"/>
          </a:xfrm>
        </p:spPr>
        <p:txBody>
          <a:bodyPr/>
          <a:lstStyle/>
          <a:p>
            <a:r>
              <a:rPr lang="ru-RU" dirty="0" smtClean="0"/>
              <a:t>Поддержка партнеров</a:t>
            </a:r>
          </a:p>
          <a:p>
            <a:pPr lvl="1"/>
            <a:r>
              <a:rPr lang="ru-RU" b="0" dirty="0" smtClean="0"/>
              <a:t>Альтернативные добавки и </a:t>
            </a:r>
            <a:r>
              <a:rPr lang="ru-RU" b="0" dirty="0"/>
              <a:t>мастербатчи</a:t>
            </a:r>
          </a:p>
          <a:p>
            <a:pPr lvl="1"/>
            <a:r>
              <a:rPr lang="ru-RU" b="0" dirty="0"/>
              <a:t>Рекомендации по ведению переработки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7"/>
          </p:nvPr>
        </p:nvSpPr>
        <p:spPr>
          <a:xfrm>
            <a:off x="4572000" y="3401769"/>
            <a:ext cx="4213225" cy="1010851"/>
          </a:xfrm>
        </p:spPr>
        <p:txBody>
          <a:bodyPr/>
          <a:lstStyle/>
          <a:p>
            <a:r>
              <a:rPr lang="ru-RU" dirty="0" smtClean="0"/>
              <a:t>Импортозамещение</a:t>
            </a:r>
          </a:p>
          <a:p>
            <a:pPr lvl="1"/>
            <a:r>
              <a:rPr lang="ru-RU" b="0" dirty="0" smtClean="0"/>
              <a:t>Рекомендации </a:t>
            </a:r>
            <a:r>
              <a:rPr lang="ru-RU" b="0" dirty="0"/>
              <a:t>по альтернативному сырью СИБУР</a:t>
            </a:r>
          </a:p>
          <a:p>
            <a:pPr lvl="1"/>
            <a:r>
              <a:rPr lang="ru-RU" b="0" dirty="0"/>
              <a:t>Подбор и разработка необходимых рецептур для </a:t>
            </a:r>
            <a:r>
              <a:rPr lang="ru-RU" b="0" dirty="0" smtClean="0"/>
              <a:t>клиента</a:t>
            </a:r>
            <a:endParaRPr lang="ru-RU" b="0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35" y="1196600"/>
            <a:ext cx="468000" cy="468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757" y="2913675"/>
            <a:ext cx="467178" cy="46717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1293221"/>
            <a:ext cx="389112" cy="38911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2913675"/>
            <a:ext cx="452670" cy="45267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 bwMode="auto">
          <a:xfrm>
            <a:off x="4406075" y="1020510"/>
            <a:ext cx="4379149" cy="3530853"/>
          </a:xfrm>
          <a:prstGeom prst="rect">
            <a:avLst/>
          </a:prstGeom>
          <a:noFill/>
          <a:ln w="28575" cap="rnd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19654" y="4757843"/>
            <a:ext cx="5311574" cy="198551"/>
          </a:xfrm>
        </p:spPr>
        <p:txBody>
          <a:bodyPr/>
          <a:lstStyle/>
          <a:p>
            <a:r>
              <a:rPr lang="ru-RU" dirty="0" smtClean="0"/>
              <a:t>Полимерное сырьё и добавки в новой реальности: Гибкая упак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743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BE23AF-4F08-4FA0-889A-EAE4292EB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89" y="347066"/>
            <a:ext cx="8422336" cy="569620"/>
          </a:xfrm>
        </p:spPr>
        <p:txBody>
          <a:bodyPr vert="horz"/>
          <a:lstStyle/>
          <a:p>
            <a:r>
              <a:rPr lang="ru-RU" sz="1800" dirty="0" smtClean="0"/>
              <a:t>Поддержка партнеров:</a:t>
            </a:r>
            <a:r>
              <a:rPr lang="ru-RU" sz="1800" dirty="0"/>
              <a:t> </a:t>
            </a:r>
            <a:r>
              <a:rPr lang="ru-RU" sz="1800" dirty="0" smtClean="0"/>
              <a:t>Подход </a:t>
            </a:r>
            <a:r>
              <a:rPr lang="ru-RU" sz="1800" dirty="0"/>
              <a:t>к </a:t>
            </a:r>
            <a:r>
              <a:rPr lang="ru-RU" sz="1800" dirty="0" smtClean="0"/>
              <a:t>взаимодействию – </a:t>
            </a:r>
            <a:br>
              <a:rPr lang="ru-RU" sz="1800" dirty="0" smtClean="0"/>
            </a:br>
            <a:r>
              <a:rPr lang="ru-RU" sz="1800" dirty="0" smtClean="0"/>
              <a:t>от </a:t>
            </a:r>
            <a:r>
              <a:rPr lang="ru-RU" sz="1800" dirty="0"/>
              <a:t>устной рекомендации до комплексной </a:t>
            </a:r>
            <a:r>
              <a:rPr lang="ru-RU" sz="1800" dirty="0" smtClean="0"/>
              <a:t>программы</a:t>
            </a:r>
            <a:endParaRPr lang="en-GB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169970E-0FAD-4B1C-92FF-8DC01ED9CB42}"/>
              </a:ext>
            </a:extLst>
          </p:cNvPr>
          <p:cNvGrpSpPr/>
          <p:nvPr/>
        </p:nvGrpSpPr>
        <p:grpSpPr>
          <a:xfrm>
            <a:off x="343292" y="2512613"/>
            <a:ext cx="8422336" cy="452435"/>
            <a:chOff x="416496" y="991239"/>
            <a:chExt cx="9073008" cy="432048"/>
          </a:xfrm>
          <a:solidFill>
            <a:srgbClr val="77E2C3"/>
          </a:solidFill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1010E6-762E-44F4-B143-E11B9BCC4C1A}"/>
                </a:ext>
              </a:extLst>
            </p:cNvPr>
            <p:cNvSpPr/>
            <p:nvPr/>
          </p:nvSpPr>
          <p:spPr bwMode="auto">
            <a:xfrm>
              <a:off x="416496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3D4C"/>
                  </a:solidFill>
                  <a:latin typeface="Arial" charset="0"/>
                </a:rPr>
                <a:t>З</a:t>
              </a: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апрос от клиента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3A9A6E99-FD1B-4203-8D3A-C5A364AA540C}"/>
                </a:ext>
              </a:extLst>
            </p:cNvPr>
            <p:cNvSpPr/>
            <p:nvPr/>
          </p:nvSpPr>
          <p:spPr bwMode="auto">
            <a:xfrm>
              <a:off x="1903605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Планирование и организация работ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38F7A1E4-EB72-4206-BD67-26F73509B17C}"/>
                </a:ext>
              </a:extLst>
            </p:cNvPr>
            <p:cNvSpPr/>
            <p:nvPr/>
          </p:nvSpPr>
          <p:spPr bwMode="auto">
            <a:xfrm>
              <a:off x="3390714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Разработка решения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982CFBFC-2736-45FC-8063-D30EF8596922}"/>
                </a:ext>
              </a:extLst>
            </p:cNvPr>
            <p:cNvSpPr/>
            <p:nvPr/>
          </p:nvSpPr>
          <p:spPr bwMode="auto">
            <a:xfrm>
              <a:off x="4877823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Омологация у клиента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3" name="Arrow: Chevron 12">
              <a:extLst>
                <a:ext uri="{FF2B5EF4-FFF2-40B4-BE49-F238E27FC236}">
                  <a16:creationId xmlns:a16="http://schemas.microsoft.com/office/drawing/2014/main" id="{467E43AB-C4AD-4A88-92A3-D05406B5E257}"/>
                </a:ext>
              </a:extLst>
            </p:cNvPr>
            <p:cNvSpPr/>
            <p:nvPr/>
          </p:nvSpPr>
          <p:spPr bwMode="auto">
            <a:xfrm>
              <a:off x="6364932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Омологация у конечного потребителя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id="{7C3A4CDB-2D3B-4D63-B4C0-4719EEACA3EB}"/>
                </a:ext>
              </a:extLst>
            </p:cNvPr>
            <p:cNvSpPr/>
            <p:nvPr/>
          </p:nvSpPr>
          <p:spPr bwMode="auto">
            <a:xfrm>
              <a:off x="7852041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Успешное внедрение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V="1">
            <a:off x="539350" y="1292743"/>
            <a:ext cx="0" cy="1224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7187" y="119444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686077" y="1038163"/>
            <a:ext cx="2174248" cy="6517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и категоризация запроса: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замена на доступный аналог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одбор альтернативного решения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нового решения</a:t>
            </a:r>
          </a:p>
        </p:txBody>
      </p:sp>
      <p:cxnSp>
        <p:nvCxnSpPr>
          <p:cNvPr id="40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>
            <a:off x="1902502" y="2965048"/>
            <a:ext cx="0" cy="13296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326201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4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71169" y="3217784"/>
            <a:ext cx="1841625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Формирование команды (СИБУР и клиент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cxnSp>
        <p:nvCxnSpPr>
          <p:cNvPr id="65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231431" y="1042827"/>
            <a:ext cx="0" cy="1476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>
            <a:off x="4624246" y="2965048"/>
            <a:ext cx="0" cy="120827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328576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74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1" y="3220782"/>
            <a:ext cx="1783267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Сопровождение и </a:t>
            </a:r>
            <a:endParaRPr lang="en-US" sz="900" dirty="0" smtClean="0">
              <a:solidFill>
                <a:srgbClr val="003D4C"/>
              </a:solidFill>
              <a:latin typeface="Arial" charset="0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техническая поддержк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76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4238431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77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73519" y="4173321"/>
            <a:ext cx="1824272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и утверждение плана работ, определение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зон ответственности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79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367252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0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0" y="3607679"/>
            <a:ext cx="159966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свойств и качеств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8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403926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2" y="3991492"/>
            <a:ext cx="1789504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Совместное заключение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cxnSp>
        <p:nvCxnSpPr>
          <p:cNvPr id="86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092120" y="1334402"/>
            <a:ext cx="0" cy="1188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1260014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1073" y="1205565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оддержка согласования </a:t>
            </a:r>
            <a:r>
              <a:rPr lang="ru-RU" sz="900" b="1" dirty="0">
                <a:solidFill>
                  <a:srgbClr val="003D4C"/>
                </a:solidFill>
                <a:latin typeface="Arial" charset="0"/>
              </a:rPr>
              <a:t>изменений свойств </a:t>
            </a: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родукта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C8BE23AF-4F08-4FA0-889A-EAE4292EB1F2}"/>
              </a:ext>
            </a:extLst>
          </p:cNvPr>
          <p:cNvSpPr txBox="1">
            <a:spLocks/>
          </p:cNvSpPr>
          <p:nvPr/>
        </p:nvSpPr>
        <p:spPr>
          <a:xfrm>
            <a:off x="279663" y="941955"/>
            <a:ext cx="8655371" cy="5696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425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61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373578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62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89994" y="3665374"/>
            <a:ext cx="1824271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Определение формата взаимодействия (встречи, командировки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9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40757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8C95"/>
                </a:solidFill>
                <a:latin typeface="Arial" charset="0"/>
              </a:rPr>
              <a:t>B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0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49226" y="1353573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роверка альтернатив и рецептурных решений в </a:t>
            </a:r>
            <a:r>
              <a:rPr lang="ru-RU" sz="900" b="1" dirty="0" err="1" smtClean="0">
                <a:solidFill>
                  <a:srgbClr val="003D4C"/>
                </a:solidFill>
                <a:latin typeface="Arial" charset="0"/>
              </a:rPr>
              <a:t>ПолиЛаб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0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212933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8C95"/>
                </a:solidFill>
                <a:latin typeface="Arial" charset="0"/>
              </a:rPr>
              <a:t>D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50689" y="2075333"/>
            <a:ext cx="1504158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Выдача технического решения (рекомендаций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08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042680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52568" y="988674"/>
            <a:ext cx="150227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роведение поисковых работ 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23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5289" y="172099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8C95"/>
                </a:solidFill>
                <a:latin typeface="Arial" charset="0"/>
              </a:rPr>
              <a:t>B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24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59760" y="1666990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Необходимая открытость для сложных кейсов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26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766511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27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49226" y="1712505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новой марки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67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6334" y="2101475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68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60805" y="2047469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ассортимента клиент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1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170018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92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1073" y="1626517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Экспертная поддержк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4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2121134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95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2062" y="2047469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родвижение совместного решения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49" name="Нижний колонтитул 2"/>
          <p:cNvSpPr txBox="1">
            <a:spLocks/>
          </p:cNvSpPr>
          <p:nvPr/>
        </p:nvSpPr>
        <p:spPr>
          <a:xfrm>
            <a:off x="519654" y="4744780"/>
            <a:ext cx="5311574" cy="19855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>
                <a:solidFill>
                  <a:schemeClr val="tx2"/>
                </a:solidFill>
              </a:rPr>
              <a:t>Полимерное сырьё и добавки в новой реальности: Гибкая упаковка</a:t>
            </a:r>
          </a:p>
        </p:txBody>
      </p:sp>
      <p:sp>
        <p:nvSpPr>
          <p:cNvPr id="5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62888" y="4760859"/>
            <a:ext cx="319083" cy="187169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0336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969F2818-97DD-4E5D-BF92-0B9B74B5FBA7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3546F04F-8B1F-4DF4-96A7-71F007F22C89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E01855AE-9594-42A2-A022-93C6AA2A2192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809696EB-28A3-4D7D-94D1-BE943D5711BE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C32F962B-1929-4094-A103-3921CB42D5F1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625C6F9B-E32B-4873-B0F8-6EA889E377EF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0A7FD75-1E90-43D2-ABF1-A6C12E8540AE}">
  <ds:schemaRefs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bda88f5-81ee-4ce0-acd0-0fc58edecc95"/>
    <ds:schemaRef ds:uri="http://schemas.microsoft.com/office/infopath/2007/PartnerControls"/>
    <ds:schemaRef ds:uri="http://purl.org/dc/terms/"/>
    <ds:schemaRef ds:uri="http://schemas.microsoft.com/office/2006/documentManagement/types"/>
    <ds:schemaRef ds:uri="9b0c9865-9e5f-4a19-8def-db8deaed8a5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х9_RU 2021 NEW</Template>
  <TotalTime>2524</TotalTime>
  <Words>2362</Words>
  <Application>Microsoft Office PowerPoint</Application>
  <PresentationFormat>On-screen Show (16:9)</PresentationFormat>
  <Paragraphs>571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Calibri</vt:lpstr>
      <vt:lpstr>Times New Roman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ПОЛИМЕРНОЕ СЫРЬЕ И ДОБАВКИ В НОВОЙ РЕАЛЬНОСТИ: ГИБКАЯ УПАКОВКА </vt:lpstr>
      <vt:lpstr>Ключевые приоритеты</vt:lpstr>
      <vt:lpstr>Поддержание текущего уровня качества продукции</vt:lpstr>
      <vt:lpstr>Большой объём омологаций в ближайшие полгода приведёт  к изменениям подхода к тестированию продуктов</vt:lpstr>
      <vt:lpstr>Текущие решения полиэтилена в гибкой упаковке</vt:lpstr>
      <vt:lpstr>Текущие решения полипропилена в гибкой упаковке</vt:lpstr>
      <vt:lpstr>Перспективные продуктовые решения ПЭ и ПП </vt:lpstr>
      <vt:lpstr>Ключевые приоритеты</vt:lpstr>
      <vt:lpstr>Поддержка партнеров: Подход к взаимодействию –  от устной рекомендации до комплексной программы</vt:lpstr>
      <vt:lpstr>ТОП ЗАПРОСОВ – КЕЙС 1</vt:lpstr>
      <vt:lpstr>ТОП ЗАПРОСОВ – КЕЙС 2</vt:lpstr>
      <vt:lpstr>ТОП ЗАПРОСОВ – КЕЙС 3</vt:lpstr>
      <vt:lpstr>ТОП ЗАПРОСОВ – КЕЙС 4</vt:lpstr>
      <vt:lpstr>АЛЬТЕРНАТИВНЫЕ МАРКИ ПОЛИМЕРОВ  </vt:lpstr>
      <vt:lpstr>АЛЬТЕРНАТИВНЫЕ МАСТЕРБАТЧИ</vt:lpstr>
      <vt:lpstr>Опросный лист для поиска альтернативного решения</vt:lpstr>
      <vt:lpstr>Ваши контакты в Сибур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Единый шаблон презентации PowerPoint</dc:title>
  <dc:creator>Тулякова Елена Владимировна</dc:creator>
  <cp:lastModifiedBy>Ромеро Бланко Хосе Антонио</cp:lastModifiedBy>
  <cp:revision>302</cp:revision>
  <dcterms:created xsi:type="dcterms:W3CDTF">2022-03-16T12:48:46Z</dcterms:created>
  <dcterms:modified xsi:type="dcterms:W3CDTF">2022-04-18T09:2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